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9"/>
  </p:notesMasterIdLst>
  <p:handoutMasterIdLst>
    <p:handoutMasterId r:id="rId20"/>
  </p:handoutMasterIdLst>
  <p:sldIdLst>
    <p:sldId id="5895" r:id="rId5"/>
    <p:sldId id="2147470498" r:id="rId6"/>
    <p:sldId id="2147482370" r:id="rId7"/>
    <p:sldId id="2147482346" r:id="rId8"/>
    <p:sldId id="2147482379" r:id="rId9"/>
    <p:sldId id="2147482354" r:id="rId10"/>
    <p:sldId id="2147482368" r:id="rId11"/>
    <p:sldId id="2147482369" r:id="rId12"/>
    <p:sldId id="2147482347" r:id="rId13"/>
    <p:sldId id="2147482371" r:id="rId14"/>
    <p:sldId id="2147482374" r:id="rId15"/>
    <p:sldId id="2147482378" r:id="rId16"/>
    <p:sldId id="2147482375" r:id="rId17"/>
    <p:sldId id="2147482376" r:id="rId18"/>
  </p:sldIdLst>
  <p:sldSz cx="12192000" cy="6858000"/>
  <p:notesSz cx="7010400" cy="92964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1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33D700-5A4F-6C1B-B8D2-29AD839FDEA5}" name="Nicholas Siegele" initials="NS" userId="S::nicholas.siegele@mavresources.com::31a5f316-260c-4c72-a4f8-22e5a4583dfd" providerId="AD"/>
  <p188:author id="{949EB109-510E-E765-F74B-650998A3A345}" name="Kaleb Foster" initials="KF" userId="S::kaleb.foster@mavresources.com::b31fe74f-711c-4aa6-b70d-32eac9d98781" providerId="AD"/>
  <p188:author id="{B57A020E-B79E-1924-197A-6C26B434792C}" name="Brandon Acuff" initials="BA" userId="S::brandon.acuff@mavresources.com::e39be7e0-a036-4349-8291-a169f0beb03a" providerId="AD"/>
  <p188:author id="{09575310-5801-E300-D299-D9AAA4067802}" name="Arden Larberg" initials="AL" userId="S::arden.larberg@mavresources.com::e46755c6-558e-4072-b4da-3982f3973107" providerId="AD"/>
  <p188:author id="{F318A815-6BF9-3F33-6D5F-FB0C1FB41AAF}" name="Robert Wyrick" initials="RW" userId="S::robert.wyrick@mavresources.com::02e291b3-5680-4da3-92d2-ccaa54f415e4" providerId="AD"/>
  <p188:author id="{E8C84123-D9EF-9B47-2EFA-12725AF2B5A9}" name="Byron Olson" initials="" userId="S::byron.olson@mavresources.com::356757e9-6315-4410-90df-90b93fb3a33c" providerId="AD"/>
  <p188:author id="{C6821124-02E9-5E6A-D368-0AE5ADF500AE}" name="Raven Elliott" initials="RE" userId="S::Raven.Elliott@mavresources.com::48cf2b6e-e07a-4ac2-99ba-4bb977842705" providerId="AD"/>
  <p188:author id="{D0F3762A-4DD1-5514-1BD1-DBF8EE1730DF}" name="Michael Atkin" initials="" userId="S::Michael.Atkin@mavresources.com::06cc8bcf-a9f0-4337-adc8-ed70d6af8808" providerId="AD"/>
  <p188:author id="{49C09747-577E-1E8F-E5DD-96D366187D65}" name="Jason Thomas" initials="JT" userId="S::jason.thomas@mavresources.com::e9a24cd1-d3dc-4870-ae19-2ed03c3c9777" providerId="AD"/>
  <p188:author id="{5510A547-4FAE-1B7A-4373-115671ADA61C}" name="Lucas Green" initials="LG" userId="S::lucas.green@mavresources.com::3a7e2d9c-f1aa-4ccb-8ae8-e630ced9aa17" providerId="AD"/>
  <p188:author id="{E823D24A-7B87-4B01-9AE2-90CD7FE5DB74}" name="Jill Cervantes" initials="JC" userId="S::Jill.Cervantes@mavresources.com::42e91073-b338-4f86-8b21-4d9531180f20" providerId="AD"/>
  <p188:author id="{E301864D-6B20-6544-8E35-50485A00F979}" name="Alex Carballo" initials="AC" userId="S::alexander.carballo@mavresources.com::b6ad3aae-1341-49ce-9803-f3772c09fe0c" providerId="AD"/>
  <p188:author id="{73F90E56-8839-42A0-E849-3543DD7336AF}" name="Nick Keller" initials="NK" userId="S::nicholas.keller@mavresources.com::dbc460e6-c5f6-49d1-b76e-cd702da75fad" providerId="AD"/>
  <p188:author id="{3EA4BD5E-283B-5A25-8404-7E55E6299C48}" name="Jacob Bailey" initials="JB" userId="S::jacob.bailey@mavresources.com::df1173c0-a0bb-4f2e-805e-9de2f2a59380" providerId="AD"/>
  <p188:author id="{9645355F-0E88-2CF8-0057-77A1BB90178C}" name="Satish Masina" initials="SM" userId="S::satish.masina@mavresources.com::2f377c24-60b0-4e9f-b808-6cc869094b13" providerId="AD"/>
  <p188:author id="{7D78505F-BADB-DBFD-0332-534D6CAF1935}" name="Christopher Vasso" initials="CV" userId="S::chris.vasso@mavresources.com::5bd7c438-903c-4f3f-9377-f0f2b182112a" providerId="AD"/>
  <p188:author id="{53E43D60-8672-7E47-89B1-7F8723A2CC36}" name="Kevin Goebel" initials="KG" userId="S::Kevin.Goebel@mavresources.com::781e7dc3-1108-4fda-b551-9363bd7cdfda" providerId="AD"/>
  <p188:author id="{9E547564-90F2-395F-F2CC-473C911D8711}" name="Steven Barrow" initials="SB" userId="S::steven.barrow@mavresources.com::6b592bd8-af98-4a93-a59e-52a21bd6615c" providerId="AD"/>
  <p188:author id="{C4405D71-6F32-7FAE-4E5A-D61DD6D21195}" name="Colin Beasley" initials="CB" userId="S::Colin.Beasley@mavresources.com::b4223b8e-9085-42e7-83da-45fe0caa0900" providerId="AD"/>
  <p188:author id="{DC4E1075-3460-EAB2-5560-95A56A29C484}" name="Sparsh Varma" initials="SV" userId="S::sparsh.varma@mavresources.com::7e38f1e8-362b-4b11-ab5c-516eea9c3fc4" providerId="AD"/>
  <p188:author id="{76E10C78-A75F-7E88-F038-DFCE2821C936}" name="Christopher Vasso" initials="" userId="S::Chris.Vasso@mavresources.com::5bd7c438-903c-4f3f-9377-f0f2b182112a" providerId="AD"/>
  <p188:author id="{DA00E07D-F174-0B34-1E99-8BCBD7C5EF7A}" name="Jacob Bailey" initials="JB" userId="S::Jacob.Bailey@mavresources.com::df1173c0-a0bb-4f2e-805e-9de2f2a59380" providerId="AD"/>
  <p188:author id="{B555F782-FA0E-43E0-7D37-502D5B7E0932}" name="Patrick Kester" initials="PK" userId="S::Patrick.Kester@mavresources.com::13ea1b60-2bae-4f5b-831d-6b02946419f2" providerId="AD"/>
  <p188:author id="{1261AB84-6F08-63ED-8D26-EA59E832FE76}" name="Megan Robb" initials="MR" userId="S::megan.robb@mavresources.com::6ce11ec2-49b4-459b-8ade-46f9eea9bbc3" providerId="AD"/>
  <p188:author id="{43316E8E-BCAA-BDEF-9B3B-D40A07253615}" name="Raven Elliott" initials="RE" userId="S::raven.elliott@mavresources.com::48cf2b6e-e07a-4ac2-99ba-4bb977842705" providerId="AD"/>
  <p188:author id="{E5A64493-BB8E-5410-B2CD-4BE3B55B3507}" name="Buddy Bains" initials="BB" userId="S::buddy.bains@mavresources.com::22761fa4-9dfa-4e3f-a82c-95985cb8e81a" providerId="AD"/>
  <p188:author id="{CF3E6693-015E-07CC-52B8-F0E479A07FCF}" name="Carmen Saucedo" initials="CS" userId="S::carmen.saucedo@mavresources.com::940be975-519e-4dc8-88d7-96c9ec5789c1" providerId="AD"/>
  <p188:author id="{296DD99B-7A99-056C-054B-D946206A0FC9}" name="Katrina Autry" initials="KA" userId="S::Katrina.Shows@mavresources.com::14b5f6ef-8049-4453-b081-f1fe2b240c80" providerId="AD"/>
  <p188:author id="{09BB319E-A88E-F4AF-EC65-EE0AB0C7DD03}" name="Patrick Kester" initials="PK" userId="S::patrick.kester@mavresources.com::13ea1b60-2bae-4f5b-831d-6b02946419f2" providerId="AD"/>
  <p188:author id="{4B1F7FA3-B30F-31FF-D259-3675E6212B86}" name="Cynthia Hurrington" initials="CH" userId="S::Cynthia.Hurrington@mavresources.com::0a922bf6-1ba5-4d29-a2b7-a2e873a051aa" providerId="AD"/>
  <p188:author id="{34C827A5-BA6A-F049-AB56-1E065EB4FF88}" name="Trevor Slade" initials="TS" userId="S::trevor.slade@mavresources.com::cc64fbf3-a312-4526-b1bf-277309e8106f" providerId="AD"/>
  <p188:author id="{F61A81B7-E17A-4E88-1E7B-E5549A385AEF}" name="Hector Zambrano" initials="HZ" userId="S::hector.zambrano@mavresources.com::22ab1018-0f48-45b3-af6e-7a5a150a2566" providerId="AD"/>
  <p188:author id="{18782CBD-FEB5-8FD4-F288-2A0D48512ED2}" name="Katrina Autry" initials="KA" userId="S::katrina.shows@mavresources.com::14b5f6ef-8049-4453-b081-f1fe2b240c80" providerId="AD"/>
  <p188:author id="{185B82BD-83B2-BBDA-DCF2-2A6D8806BFDB}" name="Kellie Hatleback" initials="" userId="S::kellie.skidmore@mavresources.com::684853e9-3eb7-4fe1-91f4-0929665e015f" providerId="AD"/>
  <p188:author id="{DC15C7D2-5F18-211C-5A1B-A00E14233159}" name="Philip Venesky" initials="PV" userId="S::Philip.Venesky@mavresources.com::fd1d820c-ae77-48ef-a2f6-be5ae4e97e79" providerId="AD"/>
  <p188:author id="{6EB39AD8-E2EA-932B-A48B-F0751D46D230}" name="Gabriel Novotny" initials="GN" userId="S::gabriel.novotny@mavresources.com::ab452a7d-805e-4be1-99fc-a983b7f7eb96" providerId="AD"/>
  <p188:author id="{C82F5BEC-722C-F7FD-9AF8-751C9840BEDA}" name="Megan Robb" initials="" userId="S::Megan.Robb@mavresources.com::6ce11ec2-49b4-459b-8ade-46f9eea9bbc3" providerId="AD"/>
  <p188:author id="{0070D7F6-5C73-D420-7554-378B90904625}" name="Rick Gideon" initials="RG" userId="S::rick.gideon@mavresources.com::4120b0aa-a115-4e24-8b21-dc88bc2db05d" providerId="AD"/>
  <p188:author id="{BF793DF9-2413-2E59-99D1-67E80E7ED835}" name="Brian Yu" initials="BY" userId="S::brian.yu@mavresources.com::21d03402-5be7-4ebb-8f7f-90262acad76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nnonhouse, Derrick" initials="SD" lastIdx="1" clrIdx="0">
    <p:extLst>
      <p:ext uri="{19B8F6BF-5375-455C-9EA6-DF929625EA0E}">
        <p15:presenceInfo xmlns:p15="http://schemas.microsoft.com/office/powerpoint/2012/main" userId="S-1-5-21-3809216620-2439356427-111278192-433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1F41"/>
    <a:srgbClr val="00B0F0"/>
    <a:srgbClr val="011E41"/>
    <a:srgbClr val="6ABF4B"/>
    <a:srgbClr val="3D5B8A"/>
    <a:srgbClr val="E1F2DB"/>
    <a:srgbClr val="FFFF99"/>
    <a:srgbClr val="C3E5B7"/>
    <a:srgbClr val="E7E6E6"/>
    <a:srgbClr val="A6D9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EB5D55-655E-4444-BF03-BE2081B09E4F}" v="6" dt="2024-07-30T17:30:54.3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720" y="102"/>
      </p:cViewPr>
      <p:guideLst>
        <p:guide orient="horz" pos="2016"/>
        <p:guide pos="3840"/>
        <p:guide orient="horz" pos="6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evor Slade" userId="cc64fbf3-a312-4526-b1bf-277309e8106f" providerId="ADAL" clId="{8EEB5D55-655E-4444-BF03-BE2081B09E4F}"/>
    <pc:docChg chg="undo custSel addSld delSld modSld">
      <pc:chgData name="Trevor Slade" userId="cc64fbf3-a312-4526-b1bf-277309e8106f" providerId="ADAL" clId="{8EEB5D55-655E-4444-BF03-BE2081B09E4F}" dt="2024-07-31T16:00:49.734" v="321" actId="478"/>
      <pc:docMkLst>
        <pc:docMk/>
      </pc:docMkLst>
      <pc:sldChg chg="del">
        <pc:chgData name="Trevor Slade" userId="cc64fbf3-a312-4526-b1bf-277309e8106f" providerId="ADAL" clId="{8EEB5D55-655E-4444-BF03-BE2081B09E4F}" dt="2024-07-31T16:00:31.064" v="319" actId="47"/>
        <pc:sldMkLst>
          <pc:docMk/>
          <pc:sldMk cId="2679218893" sldId="2147482345"/>
        </pc:sldMkLst>
      </pc:sldChg>
      <pc:sldChg chg="addSp delSp modSp mod">
        <pc:chgData name="Trevor Slade" userId="cc64fbf3-a312-4526-b1bf-277309e8106f" providerId="ADAL" clId="{8EEB5D55-655E-4444-BF03-BE2081B09E4F}" dt="2024-07-31T16:00:49.734" v="321" actId="478"/>
        <pc:sldMkLst>
          <pc:docMk/>
          <pc:sldMk cId="2557913048" sldId="2147482368"/>
        </pc:sldMkLst>
        <pc:spChg chg="add mod">
          <ac:chgData name="Trevor Slade" userId="cc64fbf3-a312-4526-b1bf-277309e8106f" providerId="ADAL" clId="{8EEB5D55-655E-4444-BF03-BE2081B09E4F}" dt="2024-07-30T16:40:18.587" v="282" actId="207"/>
          <ac:spMkLst>
            <pc:docMk/>
            <pc:sldMk cId="2557913048" sldId="2147482368"/>
            <ac:spMk id="4" creationId="{7161E2CD-3EBA-B4C1-CA86-36ED95EDF098}"/>
          </ac:spMkLst>
        </pc:spChg>
        <pc:spChg chg="add del mod">
          <ac:chgData name="Trevor Slade" userId="cc64fbf3-a312-4526-b1bf-277309e8106f" providerId="ADAL" clId="{8EEB5D55-655E-4444-BF03-BE2081B09E4F}" dt="2024-07-31T16:00:49.734" v="321" actId="478"/>
          <ac:spMkLst>
            <pc:docMk/>
            <pc:sldMk cId="2557913048" sldId="2147482368"/>
            <ac:spMk id="12" creationId="{D25AFC9B-6931-B9D0-629F-E5BA6080AAF3}"/>
          </ac:spMkLst>
        </pc:spChg>
        <pc:cxnChg chg="add mod">
          <ac:chgData name="Trevor Slade" userId="cc64fbf3-a312-4526-b1bf-277309e8106f" providerId="ADAL" clId="{8EEB5D55-655E-4444-BF03-BE2081B09E4F}" dt="2024-07-30T16:40:22.611" v="283" actId="208"/>
          <ac:cxnSpMkLst>
            <pc:docMk/>
            <pc:sldMk cId="2557913048" sldId="2147482368"/>
            <ac:cxnSpMk id="9" creationId="{3C93817F-3CBB-AA02-F65A-3BBEF809E541}"/>
          </ac:cxnSpMkLst>
        </pc:cxnChg>
      </pc:sldChg>
      <pc:sldChg chg="addSp modSp mod">
        <pc:chgData name="Trevor Slade" userId="cc64fbf3-a312-4526-b1bf-277309e8106f" providerId="ADAL" clId="{8EEB5D55-655E-4444-BF03-BE2081B09E4F}" dt="2024-07-30T16:41:19.137" v="284" actId="207"/>
        <pc:sldMkLst>
          <pc:docMk/>
          <pc:sldMk cId="722105231" sldId="2147482375"/>
        </pc:sldMkLst>
        <pc:spChg chg="mod">
          <ac:chgData name="Trevor Slade" userId="cc64fbf3-a312-4526-b1bf-277309e8106f" providerId="ADAL" clId="{8EEB5D55-655E-4444-BF03-BE2081B09E4F}" dt="2024-07-30T16:41:19.137" v="284" actId="207"/>
          <ac:spMkLst>
            <pc:docMk/>
            <pc:sldMk cId="722105231" sldId="2147482375"/>
            <ac:spMk id="3" creationId="{FC7DF5FA-12EB-34C7-879C-7468DFC1A31D}"/>
          </ac:spMkLst>
        </pc:spChg>
        <pc:spChg chg="add mod">
          <ac:chgData name="Trevor Slade" userId="cc64fbf3-a312-4526-b1bf-277309e8106f" providerId="ADAL" clId="{8EEB5D55-655E-4444-BF03-BE2081B09E4F}" dt="2024-07-30T16:25:17.008" v="144" actId="113"/>
          <ac:spMkLst>
            <pc:docMk/>
            <pc:sldMk cId="722105231" sldId="2147482375"/>
            <ac:spMk id="4" creationId="{EF258B3F-684F-355B-9560-2B1968E94B30}"/>
          </ac:spMkLst>
        </pc:spChg>
        <pc:graphicFrameChg chg="mod">
          <ac:chgData name="Trevor Slade" userId="cc64fbf3-a312-4526-b1bf-277309e8106f" providerId="ADAL" clId="{8EEB5D55-655E-4444-BF03-BE2081B09E4F}" dt="2024-07-30T16:23:29.386" v="9" actId="1076"/>
          <ac:graphicFrameMkLst>
            <pc:docMk/>
            <pc:sldMk cId="722105231" sldId="2147482375"/>
            <ac:graphicFrameMk id="5" creationId="{E7671342-50B3-07FC-FDF5-AF9578810624}"/>
          </ac:graphicFrameMkLst>
        </pc:graphicFrameChg>
      </pc:sldChg>
      <pc:sldChg chg="addSp delSp modSp new mod">
        <pc:chgData name="Trevor Slade" userId="cc64fbf3-a312-4526-b1bf-277309e8106f" providerId="ADAL" clId="{8EEB5D55-655E-4444-BF03-BE2081B09E4F}" dt="2024-07-30T17:34:13.081" v="318" actId="1076"/>
        <pc:sldMkLst>
          <pc:docMk/>
          <pc:sldMk cId="3230311831" sldId="2147482379"/>
        </pc:sldMkLst>
        <pc:spChg chg="del">
          <ac:chgData name="Trevor Slade" userId="cc64fbf3-a312-4526-b1bf-277309e8106f" providerId="ADAL" clId="{8EEB5D55-655E-4444-BF03-BE2081B09E4F}" dt="2024-07-30T17:30:21.066" v="303" actId="478"/>
          <ac:spMkLst>
            <pc:docMk/>
            <pc:sldMk cId="3230311831" sldId="2147482379"/>
            <ac:spMk id="2" creationId="{28C0D3EA-FF29-E13D-9870-FDCE33D83D12}"/>
          </ac:spMkLst>
        </pc:spChg>
        <pc:spChg chg="del">
          <ac:chgData name="Trevor Slade" userId="cc64fbf3-a312-4526-b1bf-277309e8106f" providerId="ADAL" clId="{8EEB5D55-655E-4444-BF03-BE2081B09E4F}" dt="2024-07-30T17:30:22.437" v="304" actId="478"/>
          <ac:spMkLst>
            <pc:docMk/>
            <pc:sldMk cId="3230311831" sldId="2147482379"/>
            <ac:spMk id="4" creationId="{567A56A5-4C3A-C1F2-C920-B16D39D827D9}"/>
          </ac:spMkLst>
        </pc:spChg>
        <pc:spChg chg="mod">
          <ac:chgData name="Trevor Slade" userId="cc64fbf3-a312-4526-b1bf-277309e8106f" providerId="ADAL" clId="{8EEB5D55-655E-4444-BF03-BE2081B09E4F}" dt="2024-07-30T17:30:19.086" v="302" actId="20577"/>
          <ac:spMkLst>
            <pc:docMk/>
            <pc:sldMk cId="3230311831" sldId="2147482379"/>
            <ac:spMk id="5" creationId="{6751E77E-2C3C-F324-AC09-B74694A109A1}"/>
          </ac:spMkLst>
        </pc:spChg>
        <pc:graphicFrameChg chg="add del mod">
          <ac:chgData name="Trevor Slade" userId="cc64fbf3-a312-4526-b1bf-277309e8106f" providerId="ADAL" clId="{8EEB5D55-655E-4444-BF03-BE2081B09E4F}" dt="2024-07-30T17:30:48.164" v="308" actId="478"/>
          <ac:graphicFrameMkLst>
            <pc:docMk/>
            <pc:sldMk cId="3230311831" sldId="2147482379"/>
            <ac:graphicFrameMk id="6" creationId="{0A3A5355-BDD8-F0D7-FC58-0F89A163BF76}"/>
          </ac:graphicFrameMkLst>
        </pc:graphicFrameChg>
        <pc:graphicFrameChg chg="add mod">
          <ac:chgData name="Trevor Slade" userId="cc64fbf3-a312-4526-b1bf-277309e8106f" providerId="ADAL" clId="{8EEB5D55-655E-4444-BF03-BE2081B09E4F}" dt="2024-07-30T17:30:54.360" v="311" actId="14100"/>
          <ac:graphicFrameMkLst>
            <pc:docMk/>
            <pc:sldMk cId="3230311831" sldId="2147482379"/>
            <ac:graphicFrameMk id="7" creationId="{278D0DEF-B08F-42F7-202F-D220BEE4D61B}"/>
          </ac:graphicFrameMkLst>
        </pc:graphicFrameChg>
        <pc:picChg chg="add mod">
          <ac:chgData name="Trevor Slade" userId="cc64fbf3-a312-4526-b1bf-277309e8106f" providerId="ADAL" clId="{8EEB5D55-655E-4444-BF03-BE2081B09E4F}" dt="2024-07-30T17:34:13.081" v="318" actId="1076"/>
          <ac:picMkLst>
            <pc:docMk/>
            <pc:sldMk cId="3230311831" sldId="2147482379"/>
            <ac:picMk id="9" creationId="{26462EC5-6E07-6AA8-06DF-E0CE2ED6C0A3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avresources-my.sharepoint.com/personal/trevor_slade_mavresources_com/Documents/Desktop/WAB%20Operated%20LOS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revor.slade\Downloads\data%20(2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revor.slade\Downloads\data%20(2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abor</a:t>
            </a:r>
            <a:r>
              <a:rPr lang="en-US" baseline="0"/>
              <a:t> &amp; Vehicles - Long Term Trend (including June Estimates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1"/>
          <c:order val="0"/>
          <c:tx>
            <c:strRef>
              <c:f>'[WAB Operated LOS.xlsx]Trend Data'!$B$79</c:f>
              <c:strCache>
                <c:ptCount val="1"/>
                <c:pt idx="0">
                  <c:v>Compression R&amp;M and Rentals</c:v>
                </c:pt>
              </c:strCache>
            </c:strRef>
          </c:tx>
          <c:spPr>
            <a:ln w="9525" cap="rnd">
              <a:solidFill>
                <a:schemeClr val="bg1">
                  <a:lumMod val="65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solidFill>
                <a:schemeClr val="bg1">
                  <a:lumMod val="65000"/>
                </a:schemeClr>
              </a:solidFill>
              <a:ln w="9525" cap="rnd">
                <a:solidFill>
                  <a:schemeClr val="bg1">
                    <a:lumMod val="65000"/>
                  </a:schemeClr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xVal>
            <c:numRef>
              <c:f>'[WAB Operated LOS.xlsx]Trend Data'!$C$77:$AW$77</c:f>
              <c:numCache>
                <c:formatCode>mmm\-yy</c:formatCode>
                <c:ptCount val="47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</c:numCache>
            </c:numRef>
          </c:xVal>
          <c:yVal>
            <c:numRef>
              <c:f>'[WAB Operated LOS.xlsx]Trend Data'!$C$79:$AW$79</c:f>
              <c:numCache>
                <c:formatCode>_("$"* #,##0.00_);_("$"* \(#,##0.00\);_("$"* "-"??_);_(@_)</c:formatCode>
                <c:ptCount val="47"/>
                <c:pt idx="0">
                  <c:v>608099.75999999966</c:v>
                </c:pt>
                <c:pt idx="1">
                  <c:v>592649.69999999995</c:v>
                </c:pt>
                <c:pt idx="2">
                  <c:v>583247.35999999964</c:v>
                </c:pt>
                <c:pt idx="3">
                  <c:v>431392.98999999993</c:v>
                </c:pt>
                <c:pt idx="4">
                  <c:v>239023.01999999979</c:v>
                </c:pt>
                <c:pt idx="5">
                  <c:v>195717.74999999261</c:v>
                </c:pt>
                <c:pt idx="6">
                  <c:v>80138.829999999754</c:v>
                </c:pt>
                <c:pt idx="7">
                  <c:v>160200.30000000016</c:v>
                </c:pt>
                <c:pt idx="8">
                  <c:v>152330.83000000246</c:v>
                </c:pt>
                <c:pt idx="9">
                  <c:v>144434.12000000005</c:v>
                </c:pt>
                <c:pt idx="10">
                  <c:v>92067.65</c:v>
                </c:pt>
                <c:pt idx="11">
                  <c:v>84919.760000000038</c:v>
                </c:pt>
                <c:pt idx="12">
                  <c:v>96227.849999999948</c:v>
                </c:pt>
                <c:pt idx="13">
                  <c:v>120055.64999999992</c:v>
                </c:pt>
                <c:pt idx="14">
                  <c:v>133228.59000000003</c:v>
                </c:pt>
                <c:pt idx="15">
                  <c:v>133439.61999999994</c:v>
                </c:pt>
                <c:pt idx="16">
                  <c:v>238265.37999999998</c:v>
                </c:pt>
                <c:pt idx="17">
                  <c:v>244241.94000000012</c:v>
                </c:pt>
                <c:pt idx="18">
                  <c:v>184290.96000000002</c:v>
                </c:pt>
                <c:pt idx="19">
                  <c:v>253677.03000000084</c:v>
                </c:pt>
                <c:pt idx="20">
                  <c:v>295761.83999999991</c:v>
                </c:pt>
                <c:pt idx="21">
                  <c:v>333669.44000000303</c:v>
                </c:pt>
                <c:pt idx="22">
                  <c:v>249775.24000000133</c:v>
                </c:pt>
                <c:pt idx="23">
                  <c:v>292383.81000000006</c:v>
                </c:pt>
                <c:pt idx="24">
                  <c:v>375805.26999999996</c:v>
                </c:pt>
                <c:pt idx="25">
                  <c:v>275105.0299999991</c:v>
                </c:pt>
                <c:pt idx="26">
                  <c:v>383484.71999999956</c:v>
                </c:pt>
                <c:pt idx="27">
                  <c:v>324416.71999999997</c:v>
                </c:pt>
                <c:pt idx="28">
                  <c:v>302638.22999999992</c:v>
                </c:pt>
                <c:pt idx="29">
                  <c:v>289084.26999999769</c:v>
                </c:pt>
                <c:pt idx="30">
                  <c:v>203956.61999999976</c:v>
                </c:pt>
                <c:pt idx="31">
                  <c:v>242113.55000000016</c:v>
                </c:pt>
                <c:pt idx="32">
                  <c:v>195116.91000000009</c:v>
                </c:pt>
                <c:pt idx="33">
                  <c:v>413632.79999999458</c:v>
                </c:pt>
                <c:pt idx="34">
                  <c:v>420283.29999998439</c:v>
                </c:pt>
                <c:pt idx="35">
                  <c:v>286185.82999999577</c:v>
                </c:pt>
                <c:pt idx="36">
                  <c:v>328127.76999999728</c:v>
                </c:pt>
                <c:pt idx="37">
                  <c:v>230613.69000000003</c:v>
                </c:pt>
                <c:pt idx="38">
                  <c:v>300183.53000000026</c:v>
                </c:pt>
                <c:pt idx="39">
                  <c:v>427980.4599999981</c:v>
                </c:pt>
                <c:pt idx="40">
                  <c:v>306801.71000000008</c:v>
                </c:pt>
                <c:pt idx="41">
                  <c:v>363578.58000000101</c:v>
                </c:pt>
                <c:pt idx="42">
                  <c:v>356441.78999999695</c:v>
                </c:pt>
                <c:pt idx="43">
                  <c:v>324601.84999999986</c:v>
                </c:pt>
                <c:pt idx="44">
                  <c:v>392938.33000000019</c:v>
                </c:pt>
                <c:pt idx="45">
                  <c:v>363965.24999999662</c:v>
                </c:pt>
                <c:pt idx="46">
                  <c:v>437876.5900000005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60B-4321-955F-F05749C78C96}"/>
            </c:ext>
          </c:extLst>
        </c:ser>
        <c:ser>
          <c:idx val="2"/>
          <c:order val="1"/>
          <c:tx>
            <c:strRef>
              <c:f>'[WAB Operated LOS.xlsx]Trend Data'!$B$80</c:f>
              <c:strCache>
                <c:ptCount val="1"/>
                <c:pt idx="0">
                  <c:v>Well Servicing </c:v>
                </c:pt>
              </c:strCache>
            </c:strRef>
          </c:tx>
          <c:spPr>
            <a:ln w="9525" cap="rnd">
              <a:solidFill>
                <a:schemeClr val="bg1">
                  <a:lumMod val="85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solidFill>
                <a:schemeClr val="bg1">
                  <a:lumMod val="95000"/>
                </a:schemeClr>
              </a:solidFill>
              <a:ln w="9525" cap="rnd">
                <a:solidFill>
                  <a:schemeClr val="bg1">
                    <a:lumMod val="85000"/>
                  </a:schemeClr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xVal>
            <c:numRef>
              <c:f>'[WAB Operated LOS.xlsx]Trend Data'!$C$77:$AW$77</c:f>
              <c:numCache>
                <c:formatCode>mmm\-yy</c:formatCode>
                <c:ptCount val="47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</c:numCache>
            </c:numRef>
          </c:xVal>
          <c:yVal>
            <c:numRef>
              <c:f>'[WAB Operated LOS.xlsx]Trend Data'!$C$80:$AW$80</c:f>
              <c:numCache>
                <c:formatCode>_("$"* #,##0.00_);_("$"* \(#,##0.00\);_("$"* "-"??_);_(@_)</c:formatCode>
                <c:ptCount val="47"/>
                <c:pt idx="0">
                  <c:v>898422.22</c:v>
                </c:pt>
                <c:pt idx="1">
                  <c:v>566297.21000000008</c:v>
                </c:pt>
                <c:pt idx="2">
                  <c:v>633081.74999999988</c:v>
                </c:pt>
                <c:pt idx="3">
                  <c:v>656998.7100000002</c:v>
                </c:pt>
                <c:pt idx="4">
                  <c:v>813066.35000000021</c:v>
                </c:pt>
                <c:pt idx="5">
                  <c:v>384191.76000000013</c:v>
                </c:pt>
                <c:pt idx="6">
                  <c:v>201130.60999999981</c:v>
                </c:pt>
                <c:pt idx="7">
                  <c:v>449788.83000000031</c:v>
                </c:pt>
                <c:pt idx="8">
                  <c:v>738336.99</c:v>
                </c:pt>
                <c:pt idx="9">
                  <c:v>507922.73999999976</c:v>
                </c:pt>
                <c:pt idx="10">
                  <c:v>428509.87999999936</c:v>
                </c:pt>
                <c:pt idx="11">
                  <c:v>644499.11000000162</c:v>
                </c:pt>
                <c:pt idx="12">
                  <c:v>545830.12999999942</c:v>
                </c:pt>
                <c:pt idx="13">
                  <c:v>337896.70000000019</c:v>
                </c:pt>
                <c:pt idx="14">
                  <c:v>207668.60999999463</c:v>
                </c:pt>
                <c:pt idx="15">
                  <c:v>268414.96999999986</c:v>
                </c:pt>
                <c:pt idx="16">
                  <c:v>204439.7999999997</c:v>
                </c:pt>
                <c:pt idx="17">
                  <c:v>592546.20999999973</c:v>
                </c:pt>
                <c:pt idx="18">
                  <c:v>837976.8399999995</c:v>
                </c:pt>
                <c:pt idx="19">
                  <c:v>1026312.46</c:v>
                </c:pt>
                <c:pt idx="20">
                  <c:v>1569865.85</c:v>
                </c:pt>
                <c:pt idx="21">
                  <c:v>2202113.2800000003</c:v>
                </c:pt>
                <c:pt idx="22">
                  <c:v>2384336.1600000006</c:v>
                </c:pt>
                <c:pt idx="23">
                  <c:v>2431550.3099999996</c:v>
                </c:pt>
                <c:pt idx="24">
                  <c:v>3163684.3800000004</c:v>
                </c:pt>
                <c:pt idx="25">
                  <c:v>2344416.91</c:v>
                </c:pt>
                <c:pt idx="26">
                  <c:v>1250754.0800000003</c:v>
                </c:pt>
                <c:pt idx="27">
                  <c:v>857490.34</c:v>
                </c:pt>
                <c:pt idx="28">
                  <c:v>864548.06999999972</c:v>
                </c:pt>
                <c:pt idx="29">
                  <c:v>1393266.4899999993</c:v>
                </c:pt>
                <c:pt idx="30">
                  <c:v>804040.65</c:v>
                </c:pt>
                <c:pt idx="31">
                  <c:v>800626.33</c:v>
                </c:pt>
                <c:pt idx="32">
                  <c:v>1068900.4700000002</c:v>
                </c:pt>
                <c:pt idx="33">
                  <c:v>1567746.4599999995</c:v>
                </c:pt>
                <c:pt idx="34">
                  <c:v>1148818.6500000008</c:v>
                </c:pt>
                <c:pt idx="35">
                  <c:v>783678.97000000009</c:v>
                </c:pt>
                <c:pt idx="36">
                  <c:v>688391.5399999998</c:v>
                </c:pt>
                <c:pt idx="37">
                  <c:v>1010979.8300000001</c:v>
                </c:pt>
                <c:pt idx="38">
                  <c:v>825630.69000000053</c:v>
                </c:pt>
                <c:pt idx="39">
                  <c:v>662001.78999999946</c:v>
                </c:pt>
                <c:pt idx="40">
                  <c:v>624270.24000000022</c:v>
                </c:pt>
                <c:pt idx="41">
                  <c:v>587210.62</c:v>
                </c:pt>
                <c:pt idx="42">
                  <c:v>585802.4299999997</c:v>
                </c:pt>
                <c:pt idx="43">
                  <c:v>974826.20999999903</c:v>
                </c:pt>
                <c:pt idx="44">
                  <c:v>918919.0700000003</c:v>
                </c:pt>
                <c:pt idx="45">
                  <c:v>927209.72999999905</c:v>
                </c:pt>
                <c:pt idx="46">
                  <c:v>932139.5800000000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60B-4321-955F-F05749C78C96}"/>
            </c:ext>
          </c:extLst>
        </c:ser>
        <c:ser>
          <c:idx val="3"/>
          <c:order val="2"/>
          <c:tx>
            <c:strRef>
              <c:f>'[WAB Operated LOS.xlsx]Trend Data'!$B$81</c:f>
              <c:strCache>
                <c:ptCount val="1"/>
                <c:pt idx="0">
                  <c:v>Water Hauling and Disposal </c:v>
                </c:pt>
              </c:strCache>
            </c:strRef>
          </c:tx>
          <c:spPr>
            <a:ln w="9525" cap="rnd">
              <a:solidFill>
                <a:schemeClr val="bg1">
                  <a:lumMod val="75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solidFill>
                <a:schemeClr val="bg1">
                  <a:lumMod val="75000"/>
                </a:schemeClr>
              </a:solidFill>
              <a:ln w="9525" cap="rnd">
                <a:solidFill>
                  <a:schemeClr val="bg1">
                    <a:lumMod val="75000"/>
                  </a:schemeClr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xVal>
            <c:numRef>
              <c:f>'[WAB Operated LOS.xlsx]Trend Data'!$C$77:$AW$77</c:f>
              <c:numCache>
                <c:formatCode>mmm\-yy</c:formatCode>
                <c:ptCount val="47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</c:numCache>
            </c:numRef>
          </c:xVal>
          <c:yVal>
            <c:numRef>
              <c:f>'[WAB Operated LOS.xlsx]Trend Data'!$C$81:$AW$81</c:f>
              <c:numCache>
                <c:formatCode>_("$"* #,##0.00_);_("$"* \(#,##0.00\);_("$"* "-"??_);_(@_)</c:formatCode>
                <c:ptCount val="47"/>
                <c:pt idx="0">
                  <c:v>1122593.3699999999</c:v>
                </c:pt>
                <c:pt idx="1">
                  <c:v>1012762.5400000012</c:v>
                </c:pt>
                <c:pt idx="2">
                  <c:v>907461.93999999855</c:v>
                </c:pt>
                <c:pt idx="3">
                  <c:v>830422.79999999958</c:v>
                </c:pt>
                <c:pt idx="4">
                  <c:v>1001992.7500000015</c:v>
                </c:pt>
                <c:pt idx="5">
                  <c:v>1017314.9400000004</c:v>
                </c:pt>
                <c:pt idx="6">
                  <c:v>451613.57999999961</c:v>
                </c:pt>
                <c:pt idx="7">
                  <c:v>732508.28000000259</c:v>
                </c:pt>
                <c:pt idx="8">
                  <c:v>685538.65000000107</c:v>
                </c:pt>
                <c:pt idx="9">
                  <c:v>768358.41000000632</c:v>
                </c:pt>
                <c:pt idx="10">
                  <c:v>665018.78000000585</c:v>
                </c:pt>
                <c:pt idx="11">
                  <c:v>639474.3000000047</c:v>
                </c:pt>
                <c:pt idx="12">
                  <c:v>698510.55999999784</c:v>
                </c:pt>
                <c:pt idx="13">
                  <c:v>534838.48000000359</c:v>
                </c:pt>
                <c:pt idx="14">
                  <c:v>638720.30999999144</c:v>
                </c:pt>
                <c:pt idx="15">
                  <c:v>660671.53000002704</c:v>
                </c:pt>
                <c:pt idx="16">
                  <c:v>635948.01999998651</c:v>
                </c:pt>
                <c:pt idx="17">
                  <c:v>577971.75999999221</c:v>
                </c:pt>
                <c:pt idx="18">
                  <c:v>545565.50999984029</c:v>
                </c:pt>
                <c:pt idx="19">
                  <c:v>747614.71999999776</c:v>
                </c:pt>
                <c:pt idx="20">
                  <c:v>689101.42000000027</c:v>
                </c:pt>
                <c:pt idx="21">
                  <c:v>716512.08999999939</c:v>
                </c:pt>
                <c:pt idx="22">
                  <c:v>914534.9100000019</c:v>
                </c:pt>
                <c:pt idx="23">
                  <c:v>1030257.4500000015</c:v>
                </c:pt>
                <c:pt idx="24">
                  <c:v>1010149.0400000016</c:v>
                </c:pt>
                <c:pt idx="25">
                  <c:v>1048834.4499999532</c:v>
                </c:pt>
                <c:pt idx="26">
                  <c:v>1534331.0800000075</c:v>
                </c:pt>
                <c:pt idx="27">
                  <c:v>1146506.2399999993</c:v>
                </c:pt>
                <c:pt idx="28">
                  <c:v>1012345.3600000023</c:v>
                </c:pt>
                <c:pt idx="29">
                  <c:v>1057889.8300000017</c:v>
                </c:pt>
                <c:pt idx="30">
                  <c:v>859229.24000000197</c:v>
                </c:pt>
                <c:pt idx="31">
                  <c:v>911255.05999999936</c:v>
                </c:pt>
                <c:pt idx="32">
                  <c:v>855461.38</c:v>
                </c:pt>
                <c:pt idx="33">
                  <c:v>832232.29000000039</c:v>
                </c:pt>
                <c:pt idx="34">
                  <c:v>846969.6599999991</c:v>
                </c:pt>
                <c:pt idx="35">
                  <c:v>844416.44999999891</c:v>
                </c:pt>
                <c:pt idx="36">
                  <c:v>849046.86</c:v>
                </c:pt>
                <c:pt idx="37">
                  <c:v>840056.82999999949</c:v>
                </c:pt>
                <c:pt idx="38">
                  <c:v>814261.5700000003</c:v>
                </c:pt>
                <c:pt idx="39">
                  <c:v>779706.76999999757</c:v>
                </c:pt>
                <c:pt idx="40">
                  <c:v>769571.45999999938</c:v>
                </c:pt>
                <c:pt idx="41">
                  <c:v>608787.66000000027</c:v>
                </c:pt>
                <c:pt idx="42">
                  <c:v>647395.97999999917</c:v>
                </c:pt>
                <c:pt idx="43">
                  <c:v>794419.8400000002</c:v>
                </c:pt>
                <c:pt idx="44">
                  <c:v>944964.88999999966</c:v>
                </c:pt>
                <c:pt idx="45">
                  <c:v>880545.92000000027</c:v>
                </c:pt>
                <c:pt idx="46">
                  <c:v>903729.470000000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60B-4321-955F-F05749C78C96}"/>
            </c:ext>
          </c:extLst>
        </c:ser>
        <c:ser>
          <c:idx val="0"/>
          <c:order val="3"/>
          <c:tx>
            <c:strRef>
              <c:f>'[WAB Operated LOS.xlsx]Trend Data'!$B$78</c:f>
              <c:strCache>
                <c:ptCount val="1"/>
                <c:pt idx="0">
                  <c:v>Labor &amp; Vehicles</c:v>
                </c:pt>
              </c:strCache>
            </c:strRef>
          </c:tx>
          <c:spPr>
            <a:ln w="9525" cap="rnd">
              <a:solidFill>
                <a:srgbClr val="C00000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solidFill>
                <a:srgbClr val="C00000"/>
              </a:solidFill>
              <a:ln w="9525" cap="rnd">
                <a:solidFill>
                  <a:srgbClr val="C00000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xVal>
            <c:numRef>
              <c:f>'[WAB Operated LOS.xlsx]Trend Data'!$C$77:$AW$77</c:f>
              <c:numCache>
                <c:formatCode>mmm\-yy</c:formatCode>
                <c:ptCount val="47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</c:numCache>
            </c:numRef>
          </c:xVal>
          <c:yVal>
            <c:numRef>
              <c:f>'[WAB Operated LOS.xlsx]Trend Data'!$C$78:$AW$78</c:f>
              <c:numCache>
                <c:formatCode>_("$"* #,##0.00_);_("$"* \(#,##0.00\);_("$"* "-"??_);_(@_)</c:formatCode>
                <c:ptCount val="47"/>
                <c:pt idx="0">
                  <c:v>1604764.7099999997</c:v>
                </c:pt>
                <c:pt idx="1">
                  <c:v>2124211.1799999983</c:v>
                </c:pt>
                <c:pt idx="2">
                  <c:v>1774977.1299999983</c:v>
                </c:pt>
                <c:pt idx="3">
                  <c:v>1814452.409999999</c:v>
                </c:pt>
                <c:pt idx="4">
                  <c:v>1522980.9099999811</c:v>
                </c:pt>
                <c:pt idx="5">
                  <c:v>1205837.8700000634</c:v>
                </c:pt>
                <c:pt idx="6">
                  <c:v>616269.53999989084</c:v>
                </c:pt>
                <c:pt idx="7">
                  <c:v>809946.65000045428</c:v>
                </c:pt>
                <c:pt idx="8">
                  <c:v>903637.82000031031</c:v>
                </c:pt>
                <c:pt idx="9">
                  <c:v>864991.74000000849</c:v>
                </c:pt>
                <c:pt idx="10">
                  <c:v>793034.56000008201</c:v>
                </c:pt>
                <c:pt idx="11">
                  <c:v>951457.43000006746</c:v>
                </c:pt>
                <c:pt idx="12">
                  <c:v>853009.72999998939</c:v>
                </c:pt>
                <c:pt idx="13">
                  <c:v>562472.04999960668</c:v>
                </c:pt>
                <c:pt idx="14">
                  <c:v>830044.3299999655</c:v>
                </c:pt>
                <c:pt idx="15">
                  <c:v>875915.37000003259</c:v>
                </c:pt>
                <c:pt idx="16">
                  <c:v>1014916.1300000914</c:v>
                </c:pt>
                <c:pt idx="17">
                  <c:v>1234404.2299998193</c:v>
                </c:pt>
                <c:pt idx="18">
                  <c:v>1270723.9099999277</c:v>
                </c:pt>
                <c:pt idx="19">
                  <c:v>1394893.2300000018</c:v>
                </c:pt>
                <c:pt idx="20">
                  <c:v>1600970.2099999706</c:v>
                </c:pt>
                <c:pt idx="21">
                  <c:v>1523205.6300000353</c:v>
                </c:pt>
                <c:pt idx="22">
                  <c:v>1632653.6100008118</c:v>
                </c:pt>
                <c:pt idx="23">
                  <c:v>1805474.0399996021</c:v>
                </c:pt>
                <c:pt idx="24">
                  <c:v>1769127.8600012627</c:v>
                </c:pt>
                <c:pt idx="25">
                  <c:v>2104284.0899996986</c:v>
                </c:pt>
                <c:pt idx="26">
                  <c:v>2142423.3100002157</c:v>
                </c:pt>
                <c:pt idx="27">
                  <c:v>1996079.1300006905</c:v>
                </c:pt>
                <c:pt idx="28">
                  <c:v>1965864.2800031677</c:v>
                </c:pt>
                <c:pt idx="29">
                  <c:v>2126860.9700026521</c:v>
                </c:pt>
                <c:pt idx="30">
                  <c:v>1576971.2200018349</c:v>
                </c:pt>
                <c:pt idx="31">
                  <c:v>1869731.2100015627</c:v>
                </c:pt>
                <c:pt idx="32">
                  <c:v>1752609.9300023487</c:v>
                </c:pt>
                <c:pt idx="33">
                  <c:v>1664345.2100012756</c:v>
                </c:pt>
                <c:pt idx="34">
                  <c:v>1889952.7500010431</c:v>
                </c:pt>
                <c:pt idx="35">
                  <c:v>1743860.6500014495</c:v>
                </c:pt>
                <c:pt idx="36">
                  <c:v>1669344.3700018614</c:v>
                </c:pt>
                <c:pt idx="37">
                  <c:v>1668779.1300002653</c:v>
                </c:pt>
                <c:pt idx="38">
                  <c:v>1677759.4199998891</c:v>
                </c:pt>
                <c:pt idx="39">
                  <c:v>1682335.5700017381</c:v>
                </c:pt>
                <c:pt idx="40">
                  <c:v>1644919.5400001719</c:v>
                </c:pt>
                <c:pt idx="41">
                  <c:v>1631048.5300004664</c:v>
                </c:pt>
                <c:pt idx="42">
                  <c:v>1730870.9500001916</c:v>
                </c:pt>
                <c:pt idx="43">
                  <c:v>1772279.4399999687</c:v>
                </c:pt>
                <c:pt idx="44">
                  <c:v>1646567.2400005022</c:v>
                </c:pt>
                <c:pt idx="45">
                  <c:v>1697805.4200010933</c:v>
                </c:pt>
                <c:pt idx="46">
                  <c:v>1541795.05999997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560B-4321-955F-F05749C78C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5172016"/>
        <c:axId val="692875504"/>
      </c:scatterChart>
      <c:valAx>
        <c:axId val="5151720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2875504"/>
        <c:crosses val="autoZero"/>
        <c:crossBetween val="midCat"/>
      </c:valAx>
      <c:valAx>
        <c:axId val="6928755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1720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0" dirty="0"/>
              <a:t>WAB FCF</a:t>
            </a:r>
            <a:r>
              <a:rPr lang="en-US" b="0" baseline="0" dirty="0"/>
              <a:t> by Route Distribution</a:t>
            </a:r>
            <a:endParaRPr lang="en-US" b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urrent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Current WAB Distribution'!$Z$4:$Z$17</c:f>
              <c:strCache>
                <c:ptCount val="14"/>
                <c:pt idx="0">
                  <c:v>Less than 1MM</c:v>
                </c:pt>
                <c:pt idx="1">
                  <c:v>1MM - 2MM</c:v>
                </c:pt>
                <c:pt idx="2">
                  <c:v>2MM - 3MM</c:v>
                </c:pt>
                <c:pt idx="3">
                  <c:v>3MM - 4MM</c:v>
                </c:pt>
                <c:pt idx="4">
                  <c:v>4MM - 5MM</c:v>
                </c:pt>
                <c:pt idx="5">
                  <c:v>5MM - 6MM</c:v>
                </c:pt>
                <c:pt idx="6">
                  <c:v>6MM - 7MM</c:v>
                </c:pt>
                <c:pt idx="7">
                  <c:v>7MM - 8MM</c:v>
                </c:pt>
                <c:pt idx="8">
                  <c:v>8MM - 9MM</c:v>
                </c:pt>
                <c:pt idx="9">
                  <c:v>9MM - 10MM</c:v>
                </c:pt>
                <c:pt idx="10">
                  <c:v>10MM - 11MM</c:v>
                </c:pt>
                <c:pt idx="11">
                  <c:v>11MM - 12MM</c:v>
                </c:pt>
                <c:pt idx="12">
                  <c:v>12MM - 13MM</c:v>
                </c:pt>
                <c:pt idx="13">
                  <c:v>13MM+</c:v>
                </c:pt>
              </c:strCache>
            </c:strRef>
          </c:cat>
          <c:val>
            <c:numRef>
              <c:f>'Current WAB Distribution'!$AB$4:$AB$16</c:f>
              <c:numCache>
                <c:formatCode>General</c:formatCode>
                <c:ptCount val="13"/>
                <c:pt idx="0">
                  <c:v>1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4</c:v>
                </c:pt>
                <c:pt idx="5">
                  <c:v>3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2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12-4278-AF88-A8E3C53B003F}"/>
            </c:ext>
          </c:extLst>
        </c:ser>
        <c:ser>
          <c:idx val="1"/>
          <c:order val="1"/>
          <c:tx>
            <c:v>Proposed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Current WAB Distribution'!$Z$4:$Z$17</c:f>
              <c:strCache>
                <c:ptCount val="14"/>
                <c:pt idx="0">
                  <c:v>Less than 1MM</c:v>
                </c:pt>
                <c:pt idx="1">
                  <c:v>1MM - 2MM</c:v>
                </c:pt>
                <c:pt idx="2">
                  <c:v>2MM - 3MM</c:v>
                </c:pt>
                <c:pt idx="3">
                  <c:v>3MM - 4MM</c:v>
                </c:pt>
                <c:pt idx="4">
                  <c:v>4MM - 5MM</c:v>
                </c:pt>
                <c:pt idx="5">
                  <c:v>5MM - 6MM</c:v>
                </c:pt>
                <c:pt idx="6">
                  <c:v>6MM - 7MM</c:v>
                </c:pt>
                <c:pt idx="7">
                  <c:v>7MM - 8MM</c:v>
                </c:pt>
                <c:pt idx="8">
                  <c:v>8MM - 9MM</c:v>
                </c:pt>
                <c:pt idx="9">
                  <c:v>9MM - 10MM</c:v>
                </c:pt>
                <c:pt idx="10">
                  <c:v>10MM - 11MM</c:v>
                </c:pt>
                <c:pt idx="11">
                  <c:v>11MM - 12MM</c:v>
                </c:pt>
                <c:pt idx="12">
                  <c:v>12MM - 13MM</c:v>
                </c:pt>
                <c:pt idx="13">
                  <c:v>13MM+</c:v>
                </c:pt>
              </c:strCache>
            </c:strRef>
          </c:cat>
          <c:val>
            <c:numRef>
              <c:f>'New PIVOT'!$J$4:$J$16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1</c:v>
                </c:pt>
                <c:pt idx="6">
                  <c:v>3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12-4278-AF88-A8E3C53B0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1632768"/>
        <c:axId val="161617408"/>
      </c:barChart>
      <c:catAx>
        <c:axId val="161632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617408"/>
        <c:crosses val="autoZero"/>
        <c:auto val="1"/>
        <c:lblAlgn val="ctr"/>
        <c:lblOffset val="100"/>
        <c:noMultiLvlLbl val="0"/>
      </c:catAx>
      <c:valAx>
        <c:axId val="161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632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CF vs. Active</a:t>
            </a:r>
            <a:r>
              <a:rPr lang="en-US" baseline="0"/>
              <a:t> Well Coun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345486617604231E-2"/>
          <c:y val="0.15768871346137509"/>
          <c:w val="0.85547922640106622"/>
          <c:h val="0.56087612560478528"/>
        </c:manualLayout>
      </c:layout>
      <c:scatterChart>
        <c:scatterStyle val="lineMarker"/>
        <c:varyColors val="0"/>
        <c:ser>
          <c:idx val="1"/>
          <c:order val="0"/>
          <c:tx>
            <c:v>Current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11E41"/>
              </a:solidFill>
              <a:ln w="9525">
                <a:solidFill>
                  <a:srgbClr val="011E41"/>
                </a:solidFill>
              </a:ln>
              <a:effectLst/>
            </c:spPr>
          </c:marker>
          <c:trendline>
            <c:spPr>
              <a:ln w="19050" cap="rnd">
                <a:solidFill>
                  <a:srgbClr val="011E4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Current WAB Distribution'!$E$3:$E$34</c:f>
              <c:numCache>
                <c:formatCode>#,##0</c:formatCode>
                <c:ptCount val="32"/>
                <c:pt idx="0">
                  <c:v>11419083.090000002</c:v>
                </c:pt>
                <c:pt idx="1">
                  <c:v>8126741.9500000048</c:v>
                </c:pt>
                <c:pt idx="2">
                  <c:v>9050652.0100000035</c:v>
                </c:pt>
                <c:pt idx="3">
                  <c:v>8248887.0200000014</c:v>
                </c:pt>
                <c:pt idx="4">
                  <c:v>6107502.0300000021</c:v>
                </c:pt>
                <c:pt idx="5">
                  <c:v>4192171.4199999995</c:v>
                </c:pt>
                <c:pt idx="6">
                  <c:v>3763193.9800000023</c:v>
                </c:pt>
                <c:pt idx="7">
                  <c:v>4309001.8699999982</c:v>
                </c:pt>
                <c:pt idx="8">
                  <c:v>1457978.419999999</c:v>
                </c:pt>
                <c:pt idx="9">
                  <c:v>11232517.200000005</c:v>
                </c:pt>
                <c:pt idx="10">
                  <c:v>5533331.8899999997</c:v>
                </c:pt>
                <c:pt idx="11">
                  <c:v>4357249.5500000035</c:v>
                </c:pt>
                <c:pt idx="12">
                  <c:v>4271569.8000000007</c:v>
                </c:pt>
                <c:pt idx="13">
                  <c:v>8174749.4799999958</c:v>
                </c:pt>
                <c:pt idx="14">
                  <c:v>5265691.3800000008</c:v>
                </c:pt>
                <c:pt idx="15">
                  <c:v>2893843.6199999992</c:v>
                </c:pt>
                <c:pt idx="16">
                  <c:v>3626023.7800000003</c:v>
                </c:pt>
                <c:pt idx="17">
                  <c:v>1978914.98</c:v>
                </c:pt>
                <c:pt idx="18">
                  <c:v>9829810.450000003</c:v>
                </c:pt>
                <c:pt idx="19">
                  <c:v>2851219.4599999953</c:v>
                </c:pt>
                <c:pt idx="20">
                  <c:v>3406130.1400000011</c:v>
                </c:pt>
                <c:pt idx="21">
                  <c:v>3177484.7800000007</c:v>
                </c:pt>
                <c:pt idx="22">
                  <c:v>3051942.26</c:v>
                </c:pt>
                <c:pt idx="23">
                  <c:v>1160571.3100000008</c:v>
                </c:pt>
                <c:pt idx="24">
                  <c:v>7322293.0700000022</c:v>
                </c:pt>
                <c:pt idx="25">
                  <c:v>2116605.9300000006</c:v>
                </c:pt>
                <c:pt idx="26">
                  <c:v>2082184.4699999979</c:v>
                </c:pt>
                <c:pt idx="27">
                  <c:v>2205262.4500000016</c:v>
                </c:pt>
                <c:pt idx="28">
                  <c:v>5638481.0899999952</c:v>
                </c:pt>
                <c:pt idx="29">
                  <c:v>3159506.0299999979</c:v>
                </c:pt>
                <c:pt idx="30">
                  <c:v>1046407.5800000019</c:v>
                </c:pt>
                <c:pt idx="31">
                  <c:v>809235.12999999942</c:v>
                </c:pt>
              </c:numCache>
            </c:numRef>
          </c:xVal>
          <c:yVal>
            <c:numRef>
              <c:f>'Current WAB Distribution'!$D$3:$D$34</c:f>
              <c:numCache>
                <c:formatCode>#,##0</c:formatCode>
                <c:ptCount val="32"/>
                <c:pt idx="0">
                  <c:v>51</c:v>
                </c:pt>
                <c:pt idx="1">
                  <c:v>46</c:v>
                </c:pt>
                <c:pt idx="2">
                  <c:v>40</c:v>
                </c:pt>
                <c:pt idx="3">
                  <c:v>31</c:v>
                </c:pt>
                <c:pt idx="4">
                  <c:v>30</c:v>
                </c:pt>
                <c:pt idx="5">
                  <c:v>44</c:v>
                </c:pt>
                <c:pt idx="6">
                  <c:v>38</c:v>
                </c:pt>
                <c:pt idx="7">
                  <c:v>40</c:v>
                </c:pt>
                <c:pt idx="8">
                  <c:v>28</c:v>
                </c:pt>
                <c:pt idx="9">
                  <c:v>76</c:v>
                </c:pt>
                <c:pt idx="10">
                  <c:v>59</c:v>
                </c:pt>
                <c:pt idx="11">
                  <c:v>58</c:v>
                </c:pt>
                <c:pt idx="12">
                  <c:v>60</c:v>
                </c:pt>
                <c:pt idx="13">
                  <c:v>61</c:v>
                </c:pt>
                <c:pt idx="14">
                  <c:v>59</c:v>
                </c:pt>
                <c:pt idx="15">
                  <c:v>63</c:v>
                </c:pt>
                <c:pt idx="16">
                  <c:v>34</c:v>
                </c:pt>
                <c:pt idx="17">
                  <c:v>43</c:v>
                </c:pt>
                <c:pt idx="18">
                  <c:v>62</c:v>
                </c:pt>
                <c:pt idx="19">
                  <c:v>60</c:v>
                </c:pt>
                <c:pt idx="20">
                  <c:v>47</c:v>
                </c:pt>
                <c:pt idx="21">
                  <c:v>28</c:v>
                </c:pt>
                <c:pt idx="22">
                  <c:v>47</c:v>
                </c:pt>
                <c:pt idx="23">
                  <c:v>47</c:v>
                </c:pt>
                <c:pt idx="24">
                  <c:v>74</c:v>
                </c:pt>
                <c:pt idx="25">
                  <c:v>49</c:v>
                </c:pt>
                <c:pt idx="26">
                  <c:v>51</c:v>
                </c:pt>
                <c:pt idx="27">
                  <c:v>69</c:v>
                </c:pt>
                <c:pt idx="28">
                  <c:v>61</c:v>
                </c:pt>
                <c:pt idx="29">
                  <c:v>62</c:v>
                </c:pt>
                <c:pt idx="30">
                  <c:v>45</c:v>
                </c:pt>
                <c:pt idx="31">
                  <c:v>7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E02-4A48-AAF3-DDC75C636728}"/>
            </c:ext>
          </c:extLst>
        </c:ser>
        <c:ser>
          <c:idx val="0"/>
          <c:order val="1"/>
          <c:tx>
            <c:v>Proposed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C00000"/>
              </a:solidFill>
              <a:ln w="9525">
                <a:solidFill>
                  <a:srgbClr val="C71F41"/>
                </a:solidFill>
              </a:ln>
              <a:effectLst/>
            </c:spPr>
          </c:marker>
          <c:trendline>
            <c:spPr>
              <a:ln w="19050" cap="rnd">
                <a:solidFill>
                  <a:srgbClr val="C00000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New PIVOT'!$C$3:$C$19</c:f>
              <c:numCache>
                <c:formatCode>_("$"* #,##0.00_);_("$"* \(#,##0.00\);_("$"* "-"??_);_(@_)</c:formatCode>
                <c:ptCount val="17"/>
                <c:pt idx="0">
                  <c:v>11419083.090000002</c:v>
                </c:pt>
                <c:pt idx="1">
                  <c:v>9584720.3700000048</c:v>
                </c:pt>
                <c:pt idx="2">
                  <c:v>12813845.990000006</c:v>
                </c:pt>
                <c:pt idx="3">
                  <c:v>9295294.6000000034</c:v>
                </c:pt>
                <c:pt idx="4">
                  <c:v>10299673.450000001</c:v>
                </c:pt>
                <c:pt idx="5">
                  <c:v>7468507.8999999966</c:v>
                </c:pt>
                <c:pt idx="6">
                  <c:v>11232517.200000005</c:v>
                </c:pt>
                <c:pt idx="7">
                  <c:v>8427175.5099999979</c:v>
                </c:pt>
                <c:pt idx="8">
                  <c:v>8628819.3500000052</c:v>
                </c:pt>
                <c:pt idx="9">
                  <c:v>10153664.459999995</c:v>
                </c:pt>
                <c:pt idx="10">
                  <c:v>8891715.1600000001</c:v>
                </c:pt>
                <c:pt idx="11">
                  <c:v>9829810.450000003</c:v>
                </c:pt>
                <c:pt idx="12">
                  <c:v>6257349.5999999959</c:v>
                </c:pt>
                <c:pt idx="13">
                  <c:v>7389998.3500000015</c:v>
                </c:pt>
                <c:pt idx="14">
                  <c:v>8131528.2000000011</c:v>
                </c:pt>
                <c:pt idx="15">
                  <c:v>4198790.3999999985</c:v>
                </c:pt>
                <c:pt idx="16">
                  <c:v>7843743.5399999972</c:v>
                </c:pt>
              </c:numCache>
            </c:numRef>
          </c:xVal>
          <c:yVal>
            <c:numRef>
              <c:f>'New PIVOT'!$D$3:$D$19</c:f>
              <c:numCache>
                <c:formatCode>General</c:formatCode>
                <c:ptCount val="17"/>
                <c:pt idx="0">
                  <c:v>51</c:v>
                </c:pt>
                <c:pt idx="1">
                  <c:v>74</c:v>
                </c:pt>
                <c:pt idx="2">
                  <c:v>78</c:v>
                </c:pt>
                <c:pt idx="3">
                  <c:v>76</c:v>
                </c:pt>
                <c:pt idx="4">
                  <c:v>74</c:v>
                </c:pt>
                <c:pt idx="5">
                  <c:v>102</c:v>
                </c:pt>
                <c:pt idx="6">
                  <c:v>76</c:v>
                </c:pt>
                <c:pt idx="7">
                  <c:v>122</c:v>
                </c:pt>
                <c:pt idx="8">
                  <c:v>118</c:v>
                </c:pt>
                <c:pt idx="9">
                  <c:v>104</c:v>
                </c:pt>
                <c:pt idx="10">
                  <c:v>93</c:v>
                </c:pt>
                <c:pt idx="11">
                  <c:v>62</c:v>
                </c:pt>
                <c:pt idx="12">
                  <c:v>107</c:v>
                </c:pt>
                <c:pt idx="13">
                  <c:v>122</c:v>
                </c:pt>
                <c:pt idx="14">
                  <c:v>152</c:v>
                </c:pt>
                <c:pt idx="15">
                  <c:v>100</c:v>
                </c:pt>
                <c:pt idx="16">
                  <c:v>13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E02-4A48-AAF3-DDC75C6367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7185823"/>
        <c:axId val="1457186303"/>
      </c:scatterChart>
      <c:valAx>
        <c:axId val="145718582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FCF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&quot;$&quot;* #,##0_);_(&quot;$&quot;* \(#,##0\);_(&quot;$&quot;* &quot;-&quot;_);_(@_)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186303"/>
        <c:crosses val="autoZero"/>
        <c:crossBetween val="midCat"/>
      </c:valAx>
      <c:valAx>
        <c:axId val="1457186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# Active Well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185823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832AFC-3F8E-4FC2-A2C2-34B65B63776D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D3DEE3-462A-4261-B59D-56285E5D9CB7}">
      <dgm:prSet phldrT="[Text]" custT="1"/>
      <dgm:spPr>
        <a:solidFill>
          <a:srgbClr val="C71F41"/>
        </a:solidFill>
      </dgm:spPr>
      <dgm:t>
        <a:bodyPr/>
        <a:lstStyle/>
        <a:p>
          <a:r>
            <a:rPr lang="en-US" sz="1000" dirty="0"/>
            <a:t>Super</a:t>
          </a:r>
        </a:p>
      </dgm:t>
    </dgm:pt>
    <dgm:pt modelId="{45007A1E-6D95-43E6-83CD-DA66E5045954}" type="parTrans" cxnId="{2B81C21F-98EA-4E56-BA6C-84166497D85B}">
      <dgm:prSet/>
      <dgm:spPr/>
      <dgm:t>
        <a:bodyPr/>
        <a:lstStyle/>
        <a:p>
          <a:endParaRPr lang="en-US" sz="1000"/>
        </a:p>
      </dgm:t>
    </dgm:pt>
    <dgm:pt modelId="{50474473-895E-4FD3-B3E0-778369D9D044}" type="sibTrans" cxnId="{2B81C21F-98EA-4E56-BA6C-84166497D85B}">
      <dgm:prSet/>
      <dgm:spPr/>
      <dgm:t>
        <a:bodyPr/>
        <a:lstStyle/>
        <a:p>
          <a:endParaRPr lang="en-US" sz="1000"/>
        </a:p>
      </dgm:t>
    </dgm:pt>
    <dgm:pt modelId="{6E006925-3003-4720-8633-AD5D2DB96A2A}" type="asst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Admin</a:t>
          </a:r>
        </a:p>
      </dgm:t>
    </dgm:pt>
    <dgm:pt modelId="{EE21B19B-79F6-4D43-9A5B-C3CB30C837EB}" type="parTrans" cxnId="{DB743CF3-49FF-44F2-AD08-3D2C02B7EC98}">
      <dgm:prSet/>
      <dgm:spPr/>
      <dgm:t>
        <a:bodyPr/>
        <a:lstStyle/>
        <a:p>
          <a:endParaRPr lang="en-US" sz="1000"/>
        </a:p>
      </dgm:t>
    </dgm:pt>
    <dgm:pt modelId="{3B55E5E6-48FD-4015-BF60-694348163B1F}" type="sibTrans" cxnId="{DB743CF3-49FF-44F2-AD08-3D2C02B7EC98}">
      <dgm:prSet/>
      <dgm:spPr/>
      <dgm:t>
        <a:bodyPr/>
        <a:lstStyle/>
        <a:p>
          <a:endParaRPr lang="en-US" sz="1000"/>
        </a:p>
      </dgm:t>
    </dgm:pt>
    <dgm:pt modelId="{E7F791D8-DB8B-4941-8E11-8F020F632050}">
      <dgm:prSet phldrT="[Text]" custT="1"/>
      <dgm:spPr/>
      <dgm:t>
        <a:bodyPr/>
        <a:lstStyle/>
        <a:p>
          <a:r>
            <a:rPr lang="en-US" sz="1000" dirty="0"/>
            <a:t>Production Foreman</a:t>
          </a:r>
        </a:p>
      </dgm:t>
    </dgm:pt>
    <dgm:pt modelId="{85E4676F-DFDF-4B20-B1C3-60B5AF43D2D4}" type="parTrans" cxnId="{B8CB8401-1370-4390-8E1A-414269CECE53}">
      <dgm:prSet/>
      <dgm:spPr/>
      <dgm:t>
        <a:bodyPr/>
        <a:lstStyle/>
        <a:p>
          <a:endParaRPr lang="en-US" sz="1000"/>
        </a:p>
      </dgm:t>
    </dgm:pt>
    <dgm:pt modelId="{77A6B923-6F69-4B1D-A772-95BD5AFF3497}" type="sibTrans" cxnId="{B8CB8401-1370-4390-8E1A-414269CECE53}">
      <dgm:prSet/>
      <dgm:spPr/>
      <dgm:t>
        <a:bodyPr/>
        <a:lstStyle/>
        <a:p>
          <a:endParaRPr lang="en-US" sz="1000"/>
        </a:p>
      </dgm:t>
    </dgm:pt>
    <dgm:pt modelId="{54888C6A-2E62-42EC-ABE3-0DF87A629214}">
      <dgm:prSet phldrT="[Text]" custT="1"/>
      <dgm:spPr/>
      <dgm:t>
        <a:bodyPr/>
        <a:lstStyle/>
        <a:p>
          <a:r>
            <a:rPr lang="en-US" sz="1000" dirty="0"/>
            <a:t>Production Foreman</a:t>
          </a:r>
        </a:p>
      </dgm:t>
    </dgm:pt>
    <dgm:pt modelId="{50F89145-1688-493A-881E-D47538A1E55B}" type="parTrans" cxnId="{CEFFBF50-3322-4AB4-A579-8B6C9E15D5F0}">
      <dgm:prSet/>
      <dgm:spPr/>
      <dgm:t>
        <a:bodyPr/>
        <a:lstStyle/>
        <a:p>
          <a:endParaRPr lang="en-US" sz="1000"/>
        </a:p>
      </dgm:t>
    </dgm:pt>
    <dgm:pt modelId="{DF79CE5F-32B9-472B-A50D-90CB7FC56198}" type="sibTrans" cxnId="{CEFFBF50-3322-4AB4-A579-8B6C9E15D5F0}">
      <dgm:prSet/>
      <dgm:spPr/>
      <dgm:t>
        <a:bodyPr/>
        <a:lstStyle/>
        <a:p>
          <a:endParaRPr lang="en-US" sz="1000"/>
        </a:p>
      </dgm:t>
    </dgm:pt>
    <dgm:pt modelId="{DBDCEDFB-608B-4A42-8D1C-E32FF44E1AA3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FC5B815B-FF58-4D5A-AAF8-9B53BC2C56D1}" type="parTrans" cxnId="{FC8C7DBA-41E4-468A-A79F-12AF63A32C8E}">
      <dgm:prSet/>
      <dgm:spPr/>
      <dgm:t>
        <a:bodyPr/>
        <a:lstStyle/>
        <a:p>
          <a:endParaRPr lang="en-US" sz="1000"/>
        </a:p>
      </dgm:t>
    </dgm:pt>
    <dgm:pt modelId="{799995E3-253C-4662-A9BD-72528A34F37D}" type="sibTrans" cxnId="{FC8C7DBA-41E4-468A-A79F-12AF63A32C8E}">
      <dgm:prSet/>
      <dgm:spPr/>
      <dgm:t>
        <a:bodyPr/>
        <a:lstStyle/>
        <a:p>
          <a:endParaRPr lang="en-US" sz="1000"/>
        </a:p>
      </dgm:t>
    </dgm:pt>
    <dgm:pt modelId="{4DC35318-58C7-4147-8858-E425136D1683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DF6A2EB0-C2F6-4627-BDB3-F3F1C0532CDD}" type="parTrans" cxnId="{93287186-847A-4C4C-B33E-0E5A7121DC5E}">
      <dgm:prSet/>
      <dgm:spPr/>
      <dgm:t>
        <a:bodyPr/>
        <a:lstStyle/>
        <a:p>
          <a:endParaRPr lang="en-US" sz="1000"/>
        </a:p>
      </dgm:t>
    </dgm:pt>
    <dgm:pt modelId="{1F629A39-7A34-414A-8E5C-F51172420AC2}" type="sibTrans" cxnId="{93287186-847A-4C4C-B33E-0E5A7121DC5E}">
      <dgm:prSet/>
      <dgm:spPr/>
      <dgm:t>
        <a:bodyPr/>
        <a:lstStyle/>
        <a:p>
          <a:endParaRPr lang="en-US" sz="1000"/>
        </a:p>
      </dgm:t>
    </dgm:pt>
    <dgm:pt modelId="{4C4BD85B-0727-42BB-9783-8216A795E60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0C92A346-77A6-40EF-901B-1E483C88E84C}" type="parTrans" cxnId="{25E72224-7A7F-496E-966B-6F89D4727201}">
      <dgm:prSet/>
      <dgm:spPr/>
      <dgm:t>
        <a:bodyPr/>
        <a:lstStyle/>
        <a:p>
          <a:endParaRPr lang="en-US" sz="1000"/>
        </a:p>
      </dgm:t>
    </dgm:pt>
    <dgm:pt modelId="{7A8C9B87-E18B-4B4C-B0D5-A7ED305525E9}" type="sibTrans" cxnId="{25E72224-7A7F-496E-966B-6F89D4727201}">
      <dgm:prSet/>
      <dgm:spPr/>
      <dgm:t>
        <a:bodyPr/>
        <a:lstStyle/>
        <a:p>
          <a:endParaRPr lang="en-US" sz="1000"/>
        </a:p>
      </dgm:t>
    </dgm:pt>
    <dgm:pt modelId="{36D2158B-93CC-43DE-AB88-9EFEF1C7063B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EE3A1FAB-7C4B-4877-92C0-F65374159DFF}" type="parTrans" cxnId="{BBA31969-0DB4-4663-8F52-CB073C653E57}">
      <dgm:prSet/>
      <dgm:spPr/>
      <dgm:t>
        <a:bodyPr/>
        <a:lstStyle/>
        <a:p>
          <a:endParaRPr lang="en-US" sz="1000"/>
        </a:p>
      </dgm:t>
    </dgm:pt>
    <dgm:pt modelId="{463DF148-6072-4495-8955-D65D1677D418}" type="sibTrans" cxnId="{BBA31969-0DB4-4663-8F52-CB073C653E57}">
      <dgm:prSet/>
      <dgm:spPr/>
      <dgm:t>
        <a:bodyPr/>
        <a:lstStyle/>
        <a:p>
          <a:endParaRPr lang="en-US" sz="1000"/>
        </a:p>
      </dgm:t>
    </dgm:pt>
    <dgm:pt modelId="{A49BBB18-A6FD-44E5-A65B-0C9981C38114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D96AFAE7-FE68-40D8-82B7-449AF30CCC2B}" type="parTrans" cxnId="{0B106C5F-42EB-4300-BDCD-60CD52F08392}">
      <dgm:prSet/>
      <dgm:spPr/>
      <dgm:t>
        <a:bodyPr/>
        <a:lstStyle/>
        <a:p>
          <a:endParaRPr lang="en-US" sz="1000"/>
        </a:p>
      </dgm:t>
    </dgm:pt>
    <dgm:pt modelId="{39E41F36-A5A1-4ABB-83DA-B42122E3B882}" type="sibTrans" cxnId="{0B106C5F-42EB-4300-BDCD-60CD52F08392}">
      <dgm:prSet/>
      <dgm:spPr/>
      <dgm:t>
        <a:bodyPr/>
        <a:lstStyle/>
        <a:p>
          <a:endParaRPr lang="en-US" sz="1000"/>
        </a:p>
      </dgm:t>
    </dgm:pt>
    <dgm:pt modelId="{8C988897-87B7-4517-9047-DFA7A88C38ED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03D29BEB-8C5A-4A99-8BC3-76E4815FCD31}" type="parTrans" cxnId="{5F4F5848-CA66-4198-BFB3-A18515633384}">
      <dgm:prSet/>
      <dgm:spPr/>
      <dgm:t>
        <a:bodyPr/>
        <a:lstStyle/>
        <a:p>
          <a:endParaRPr lang="en-US" sz="1000"/>
        </a:p>
      </dgm:t>
    </dgm:pt>
    <dgm:pt modelId="{2436EC5A-ABCA-41EE-BECC-8BBE18E8256E}" type="sibTrans" cxnId="{5F4F5848-CA66-4198-BFB3-A18515633384}">
      <dgm:prSet/>
      <dgm:spPr/>
      <dgm:t>
        <a:bodyPr/>
        <a:lstStyle/>
        <a:p>
          <a:endParaRPr lang="en-US" sz="1000"/>
        </a:p>
      </dgm:t>
    </dgm:pt>
    <dgm:pt modelId="{CEFE54B5-1BF0-40D8-A238-41A7896496D8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1FB87FED-6972-430F-AC0C-71746CE494E0}" type="parTrans" cxnId="{3F3DE9E9-BCE1-4553-AD2B-5D1514B648D0}">
      <dgm:prSet/>
      <dgm:spPr/>
      <dgm:t>
        <a:bodyPr/>
        <a:lstStyle/>
        <a:p>
          <a:endParaRPr lang="en-US" sz="1000"/>
        </a:p>
      </dgm:t>
    </dgm:pt>
    <dgm:pt modelId="{6561193A-D219-4269-B667-3F90A154D0FB}" type="sibTrans" cxnId="{3F3DE9E9-BCE1-4553-AD2B-5D1514B648D0}">
      <dgm:prSet/>
      <dgm:spPr/>
      <dgm:t>
        <a:bodyPr/>
        <a:lstStyle/>
        <a:p>
          <a:endParaRPr lang="en-US" sz="1000"/>
        </a:p>
      </dgm:t>
    </dgm:pt>
    <dgm:pt modelId="{BCF27CF9-0ED4-4612-94D1-DC1E000F8967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07113328-4499-450A-BD57-0C9620EB93F0}" type="parTrans" cxnId="{0441F475-15D7-48A9-8F50-227B93309655}">
      <dgm:prSet/>
      <dgm:spPr/>
      <dgm:t>
        <a:bodyPr/>
        <a:lstStyle/>
        <a:p>
          <a:endParaRPr lang="en-US" sz="1000"/>
        </a:p>
      </dgm:t>
    </dgm:pt>
    <dgm:pt modelId="{92E0E80D-3C40-4A36-B209-168F406C7343}" type="sibTrans" cxnId="{0441F475-15D7-48A9-8F50-227B93309655}">
      <dgm:prSet/>
      <dgm:spPr/>
      <dgm:t>
        <a:bodyPr/>
        <a:lstStyle/>
        <a:p>
          <a:endParaRPr lang="en-US" sz="1000"/>
        </a:p>
      </dgm:t>
    </dgm:pt>
    <dgm:pt modelId="{5EEA353E-AFC6-4F20-8D77-AD8593576011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0A82C860-67E9-4924-9DCF-FC0CBD8C5010}" type="parTrans" cxnId="{C26A1C10-6734-4D51-8250-95D2086E8F98}">
      <dgm:prSet/>
      <dgm:spPr/>
      <dgm:t>
        <a:bodyPr/>
        <a:lstStyle/>
        <a:p>
          <a:endParaRPr lang="en-US" sz="1000"/>
        </a:p>
      </dgm:t>
    </dgm:pt>
    <dgm:pt modelId="{76204006-F138-4849-BD32-33E51A67180B}" type="sibTrans" cxnId="{C26A1C10-6734-4D51-8250-95D2086E8F98}">
      <dgm:prSet/>
      <dgm:spPr/>
      <dgm:t>
        <a:bodyPr/>
        <a:lstStyle/>
        <a:p>
          <a:endParaRPr lang="en-US" sz="1000"/>
        </a:p>
      </dgm:t>
    </dgm:pt>
    <dgm:pt modelId="{13E6143E-3AE3-4A1E-A16D-C96A8323BDC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CDC32E48-8470-4047-9C56-5574FF1AE61B}" type="parTrans" cxnId="{97AE87FF-7BA1-4E1E-BACC-821DEC3E9501}">
      <dgm:prSet/>
      <dgm:spPr/>
      <dgm:t>
        <a:bodyPr/>
        <a:lstStyle/>
        <a:p>
          <a:endParaRPr lang="en-US" sz="1000"/>
        </a:p>
      </dgm:t>
    </dgm:pt>
    <dgm:pt modelId="{3989C149-0CD7-479A-A0B6-E6DAD0A57E2C}" type="sibTrans" cxnId="{97AE87FF-7BA1-4E1E-BACC-821DEC3E9501}">
      <dgm:prSet/>
      <dgm:spPr/>
      <dgm:t>
        <a:bodyPr/>
        <a:lstStyle/>
        <a:p>
          <a:endParaRPr lang="en-US" sz="1000"/>
        </a:p>
      </dgm:t>
    </dgm:pt>
    <dgm:pt modelId="{BEC94471-A240-436D-A246-F2E4CBD2830E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EDDC8BBC-3074-4EF4-B00B-26662A4D0006}" type="parTrans" cxnId="{C1408012-C21A-4D4F-993D-9BC46D1F7099}">
      <dgm:prSet/>
      <dgm:spPr/>
      <dgm:t>
        <a:bodyPr/>
        <a:lstStyle/>
        <a:p>
          <a:endParaRPr lang="en-US" sz="1000"/>
        </a:p>
      </dgm:t>
    </dgm:pt>
    <dgm:pt modelId="{D1AF9D87-F41C-4F02-8D79-59C384796391}" type="sibTrans" cxnId="{C1408012-C21A-4D4F-993D-9BC46D1F7099}">
      <dgm:prSet/>
      <dgm:spPr/>
      <dgm:t>
        <a:bodyPr/>
        <a:lstStyle/>
        <a:p>
          <a:endParaRPr lang="en-US" sz="1000"/>
        </a:p>
      </dgm:t>
    </dgm:pt>
    <dgm:pt modelId="{2AB31F72-6288-44D2-8072-2F3E8CA5E8E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7DB04EC-4168-4743-9845-F6C1C690AAAC}" type="parTrans" cxnId="{E20F80F6-2CD3-42B5-9910-7D14EF778F5E}">
      <dgm:prSet/>
      <dgm:spPr/>
      <dgm:t>
        <a:bodyPr/>
        <a:lstStyle/>
        <a:p>
          <a:endParaRPr lang="en-US" sz="1000"/>
        </a:p>
      </dgm:t>
    </dgm:pt>
    <dgm:pt modelId="{93F5CAB4-2AB7-4A78-A535-D6B3D24DA627}" type="sibTrans" cxnId="{E20F80F6-2CD3-42B5-9910-7D14EF778F5E}">
      <dgm:prSet/>
      <dgm:spPr/>
      <dgm:t>
        <a:bodyPr/>
        <a:lstStyle/>
        <a:p>
          <a:endParaRPr lang="en-US" sz="1000"/>
        </a:p>
      </dgm:t>
    </dgm:pt>
    <dgm:pt modelId="{D0BD1B9D-6FCD-4A08-9C31-03A5F2B41B4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3420DA78-1189-4823-8264-4E3D7CD5A180}" type="parTrans" cxnId="{44C9C710-4015-4401-A37B-EA3DCDFEDCEF}">
      <dgm:prSet/>
      <dgm:spPr/>
      <dgm:t>
        <a:bodyPr/>
        <a:lstStyle/>
        <a:p>
          <a:endParaRPr lang="en-US" sz="1000"/>
        </a:p>
      </dgm:t>
    </dgm:pt>
    <dgm:pt modelId="{DF32E5FC-3ECD-4002-82D6-521EBF941CB5}" type="sibTrans" cxnId="{44C9C710-4015-4401-A37B-EA3DCDFEDCEF}">
      <dgm:prSet/>
      <dgm:spPr/>
      <dgm:t>
        <a:bodyPr/>
        <a:lstStyle/>
        <a:p>
          <a:endParaRPr lang="en-US" sz="1000"/>
        </a:p>
      </dgm:t>
    </dgm:pt>
    <dgm:pt modelId="{D3EAEA6F-8226-4F40-AAE6-0C94EE3EF55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CF2BD7BF-C222-47C6-8576-73591C998929}" type="parTrans" cxnId="{BF38D40B-FDAD-4FC2-94EA-46B5909F3557}">
      <dgm:prSet/>
      <dgm:spPr/>
      <dgm:t>
        <a:bodyPr/>
        <a:lstStyle/>
        <a:p>
          <a:endParaRPr lang="en-US" sz="1000"/>
        </a:p>
      </dgm:t>
    </dgm:pt>
    <dgm:pt modelId="{BA69229E-37FD-4EF1-9B9A-53193E80AC24}" type="sibTrans" cxnId="{BF38D40B-FDAD-4FC2-94EA-46B5909F3557}">
      <dgm:prSet/>
      <dgm:spPr/>
      <dgm:t>
        <a:bodyPr/>
        <a:lstStyle/>
        <a:p>
          <a:endParaRPr lang="en-US" sz="1000"/>
        </a:p>
      </dgm:t>
    </dgm:pt>
    <dgm:pt modelId="{6FDAC7CE-C7EF-40C3-B712-A3202A457CE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8987B43F-EE7D-4124-AB48-46F3316BE98E}" type="parTrans" cxnId="{BE1B924B-0C7F-4620-8B51-F57172EA1806}">
      <dgm:prSet/>
      <dgm:spPr/>
      <dgm:t>
        <a:bodyPr/>
        <a:lstStyle/>
        <a:p>
          <a:endParaRPr lang="en-US" sz="1000"/>
        </a:p>
      </dgm:t>
    </dgm:pt>
    <dgm:pt modelId="{645F58BC-DE26-4E21-BAF6-DA0D82F55B8A}" type="sibTrans" cxnId="{BE1B924B-0C7F-4620-8B51-F57172EA1806}">
      <dgm:prSet/>
      <dgm:spPr/>
      <dgm:t>
        <a:bodyPr/>
        <a:lstStyle/>
        <a:p>
          <a:endParaRPr lang="en-US" sz="1000"/>
        </a:p>
      </dgm:t>
    </dgm:pt>
    <dgm:pt modelId="{C8DBDEE6-FC39-4EAC-9FE5-3F58BA91234D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39F50FA-EEE3-4D7A-8C4B-320B85211430}" type="parTrans" cxnId="{3C986995-76F4-4DB1-B6C5-DF1068BA7E44}">
      <dgm:prSet/>
      <dgm:spPr/>
      <dgm:t>
        <a:bodyPr/>
        <a:lstStyle/>
        <a:p>
          <a:endParaRPr lang="en-US" sz="1000"/>
        </a:p>
      </dgm:t>
    </dgm:pt>
    <dgm:pt modelId="{11858CF6-7F77-48B3-AFAA-6DF7453AF8F1}" type="sibTrans" cxnId="{3C986995-76F4-4DB1-B6C5-DF1068BA7E44}">
      <dgm:prSet/>
      <dgm:spPr/>
      <dgm:t>
        <a:bodyPr/>
        <a:lstStyle/>
        <a:p>
          <a:endParaRPr lang="en-US" sz="1000"/>
        </a:p>
      </dgm:t>
    </dgm:pt>
    <dgm:pt modelId="{039FA459-9C06-468E-B1F7-E5A82D5411B4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62D16580-86F9-40F0-867C-B38652B85398}" type="parTrans" cxnId="{C6C7A5B0-F44B-41BD-9D5D-F2F76FD1E08D}">
      <dgm:prSet/>
      <dgm:spPr/>
      <dgm:t>
        <a:bodyPr/>
        <a:lstStyle/>
        <a:p>
          <a:endParaRPr lang="en-US" sz="1000"/>
        </a:p>
      </dgm:t>
    </dgm:pt>
    <dgm:pt modelId="{F54622C5-0363-4600-8D38-21A33EE77957}" type="sibTrans" cxnId="{C6C7A5B0-F44B-41BD-9D5D-F2F76FD1E08D}">
      <dgm:prSet/>
      <dgm:spPr/>
      <dgm:t>
        <a:bodyPr/>
        <a:lstStyle/>
        <a:p>
          <a:endParaRPr lang="en-US" sz="1000"/>
        </a:p>
      </dgm:t>
    </dgm:pt>
    <dgm:pt modelId="{E557E23E-C3E6-42E2-868F-877B1D8E73CB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AF273E8-FB9C-4474-92C9-A0CDE5FEDDC1}" type="parTrans" cxnId="{CC99BC72-6785-4C86-95FD-29DF5063F994}">
      <dgm:prSet/>
      <dgm:spPr/>
      <dgm:t>
        <a:bodyPr/>
        <a:lstStyle/>
        <a:p>
          <a:endParaRPr lang="en-US" sz="1000"/>
        </a:p>
      </dgm:t>
    </dgm:pt>
    <dgm:pt modelId="{91839324-1A32-42DB-82F4-5BC2D4910982}" type="sibTrans" cxnId="{CC99BC72-6785-4C86-95FD-29DF5063F994}">
      <dgm:prSet/>
      <dgm:spPr/>
      <dgm:t>
        <a:bodyPr/>
        <a:lstStyle/>
        <a:p>
          <a:endParaRPr lang="en-US" sz="1000"/>
        </a:p>
      </dgm:t>
    </dgm:pt>
    <dgm:pt modelId="{97751B3B-AFD0-4B86-8DBD-7987C92C6E32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83BD93D6-7A0E-4A44-AB13-3EF7F617E4A6}" type="parTrans" cxnId="{CE4E22D1-3EE0-4F09-82A0-0CD5785AECDF}">
      <dgm:prSet/>
      <dgm:spPr/>
      <dgm:t>
        <a:bodyPr/>
        <a:lstStyle/>
        <a:p>
          <a:endParaRPr lang="en-US" sz="1000"/>
        </a:p>
      </dgm:t>
    </dgm:pt>
    <dgm:pt modelId="{CCD94597-4420-41FE-95DA-62E7EBB26D85}" type="sibTrans" cxnId="{CE4E22D1-3EE0-4F09-82A0-0CD5785AECDF}">
      <dgm:prSet/>
      <dgm:spPr/>
      <dgm:t>
        <a:bodyPr/>
        <a:lstStyle/>
        <a:p>
          <a:endParaRPr lang="en-US" sz="1000"/>
        </a:p>
      </dgm:t>
    </dgm:pt>
    <dgm:pt modelId="{4D793E25-9924-492C-B00A-32F155E6050A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30F82C44-F97D-491F-8381-068EEDDCD21B}" type="parTrans" cxnId="{8D152BD1-C15E-4D92-A975-73CBD6E4487F}">
      <dgm:prSet/>
      <dgm:spPr/>
      <dgm:t>
        <a:bodyPr/>
        <a:lstStyle/>
        <a:p>
          <a:endParaRPr lang="en-US" sz="1000"/>
        </a:p>
      </dgm:t>
    </dgm:pt>
    <dgm:pt modelId="{FF3265DF-C755-46E3-B9BC-B845D9BAEC0A}" type="sibTrans" cxnId="{8D152BD1-C15E-4D92-A975-73CBD6E4487F}">
      <dgm:prSet/>
      <dgm:spPr/>
      <dgm:t>
        <a:bodyPr/>
        <a:lstStyle/>
        <a:p>
          <a:endParaRPr lang="en-US" sz="1000"/>
        </a:p>
      </dgm:t>
    </dgm:pt>
    <dgm:pt modelId="{761A1E22-8C8A-4152-B1C8-4F9F35F000B9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D1805DA1-904F-4B00-AF8A-FF206D51C6A2}" type="parTrans" cxnId="{6E4C3C9B-13CB-4D1E-91E9-A66904E6DEB5}">
      <dgm:prSet/>
      <dgm:spPr/>
      <dgm:t>
        <a:bodyPr/>
        <a:lstStyle/>
        <a:p>
          <a:endParaRPr lang="en-US" sz="1000"/>
        </a:p>
      </dgm:t>
    </dgm:pt>
    <dgm:pt modelId="{E093EFA0-7F0F-40F5-A5A5-B7265D03F82F}" type="sibTrans" cxnId="{6E4C3C9B-13CB-4D1E-91E9-A66904E6DEB5}">
      <dgm:prSet/>
      <dgm:spPr/>
      <dgm:t>
        <a:bodyPr/>
        <a:lstStyle/>
        <a:p>
          <a:endParaRPr lang="en-US" sz="1000"/>
        </a:p>
      </dgm:t>
    </dgm:pt>
    <dgm:pt modelId="{25EF0883-7505-481B-9361-6A17544145A1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0CF47565-496B-452B-A332-F8123452058B}" type="parTrans" cxnId="{1D9C0DA6-A66C-4896-BD02-0B3148810FCA}">
      <dgm:prSet/>
      <dgm:spPr/>
      <dgm:t>
        <a:bodyPr/>
        <a:lstStyle/>
        <a:p>
          <a:endParaRPr lang="en-US" sz="1000"/>
        </a:p>
      </dgm:t>
    </dgm:pt>
    <dgm:pt modelId="{4C8A066E-D124-4071-B943-8BCE9C106578}" type="sibTrans" cxnId="{1D9C0DA6-A66C-4896-BD02-0B3148810FCA}">
      <dgm:prSet/>
      <dgm:spPr/>
      <dgm:t>
        <a:bodyPr/>
        <a:lstStyle/>
        <a:p>
          <a:endParaRPr lang="en-US" sz="1000"/>
        </a:p>
      </dgm:t>
    </dgm:pt>
    <dgm:pt modelId="{A7195517-ECE8-4D75-B284-DD7FC3A1C483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3A71DE44-A883-452F-BD5C-5C1232AFF38F}" type="parTrans" cxnId="{C1FB86D0-3301-414C-8D9D-1DB236A0CA01}">
      <dgm:prSet/>
      <dgm:spPr/>
      <dgm:t>
        <a:bodyPr/>
        <a:lstStyle/>
        <a:p>
          <a:endParaRPr lang="en-US" sz="1000"/>
        </a:p>
      </dgm:t>
    </dgm:pt>
    <dgm:pt modelId="{B03912AA-9EC5-4CF4-8842-A978F5471BA2}" type="sibTrans" cxnId="{C1FB86D0-3301-414C-8D9D-1DB236A0CA01}">
      <dgm:prSet/>
      <dgm:spPr/>
      <dgm:t>
        <a:bodyPr/>
        <a:lstStyle/>
        <a:p>
          <a:endParaRPr lang="en-US" sz="1000"/>
        </a:p>
      </dgm:t>
    </dgm:pt>
    <dgm:pt modelId="{1C9732A4-6FF4-40D6-8D61-7C8DB349EAC3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Admin</a:t>
          </a:r>
        </a:p>
      </dgm:t>
    </dgm:pt>
    <dgm:pt modelId="{B5308BE8-90F6-43A8-855E-10D425C89E8B}" type="parTrans" cxnId="{65AB1174-3962-4FF8-8723-2AE8B3B817B7}">
      <dgm:prSet/>
      <dgm:spPr/>
      <dgm:t>
        <a:bodyPr/>
        <a:lstStyle/>
        <a:p>
          <a:endParaRPr lang="en-US"/>
        </a:p>
      </dgm:t>
    </dgm:pt>
    <dgm:pt modelId="{F05417B5-AA2B-4AAA-8E75-A2CDD48B10F8}" type="sibTrans" cxnId="{65AB1174-3962-4FF8-8723-2AE8B3B817B7}">
      <dgm:prSet/>
      <dgm:spPr/>
      <dgm:t>
        <a:bodyPr/>
        <a:lstStyle/>
        <a:p>
          <a:endParaRPr lang="en-US"/>
        </a:p>
      </dgm:t>
    </dgm:pt>
    <dgm:pt modelId="{0D6DE103-5F19-4F21-AF6F-B55ED5F6FC89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Admin</a:t>
          </a:r>
        </a:p>
      </dgm:t>
    </dgm:pt>
    <dgm:pt modelId="{7C6CCB63-A967-4C87-94BE-1382925217CD}" type="parTrans" cxnId="{7DC75F6D-295A-4097-A1C6-5B8832D8EAFD}">
      <dgm:prSet/>
      <dgm:spPr/>
      <dgm:t>
        <a:bodyPr/>
        <a:lstStyle/>
        <a:p>
          <a:endParaRPr lang="en-US"/>
        </a:p>
      </dgm:t>
    </dgm:pt>
    <dgm:pt modelId="{A3F2E28C-9962-4381-A7F3-AAA92F5EECE9}" type="sibTrans" cxnId="{7DC75F6D-295A-4097-A1C6-5B8832D8EAFD}">
      <dgm:prSet/>
      <dgm:spPr/>
      <dgm:t>
        <a:bodyPr/>
        <a:lstStyle/>
        <a:p>
          <a:endParaRPr lang="en-US"/>
        </a:p>
      </dgm:t>
    </dgm:pt>
    <dgm:pt modelId="{1D702F36-EFBC-4D33-AFBB-22A512C7F89A}" type="pres">
      <dgm:prSet presAssocID="{EF832AFC-3F8E-4FC2-A2C2-34B65B63776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F5952D4-AD10-48F1-836D-D3FB1DE8A604}" type="pres">
      <dgm:prSet presAssocID="{9DD3DEE3-462A-4261-B59D-56285E5D9CB7}" presName="hierRoot1" presStyleCnt="0">
        <dgm:presLayoutVars>
          <dgm:hierBranch val="init"/>
        </dgm:presLayoutVars>
      </dgm:prSet>
      <dgm:spPr/>
    </dgm:pt>
    <dgm:pt modelId="{484AB7C5-C332-4B14-B96E-5D12DFA83A1A}" type="pres">
      <dgm:prSet presAssocID="{9DD3DEE3-462A-4261-B59D-56285E5D9CB7}" presName="rootComposite1" presStyleCnt="0"/>
      <dgm:spPr/>
    </dgm:pt>
    <dgm:pt modelId="{2CA1596A-E42E-4974-AF6E-0D3AC01CF41C}" type="pres">
      <dgm:prSet presAssocID="{9DD3DEE3-462A-4261-B59D-56285E5D9CB7}" presName="rootText1" presStyleLbl="node0" presStyleIdx="0" presStyleCnt="1">
        <dgm:presLayoutVars>
          <dgm:chPref val="3"/>
        </dgm:presLayoutVars>
      </dgm:prSet>
      <dgm:spPr/>
    </dgm:pt>
    <dgm:pt modelId="{33E8E7F3-CB8D-47FF-B6DF-7602F87EA73E}" type="pres">
      <dgm:prSet presAssocID="{9DD3DEE3-462A-4261-B59D-56285E5D9CB7}" presName="rootConnector1" presStyleLbl="node1" presStyleIdx="0" presStyleCnt="0"/>
      <dgm:spPr/>
    </dgm:pt>
    <dgm:pt modelId="{01A00BDB-6586-4895-A6FB-B925826E3598}" type="pres">
      <dgm:prSet presAssocID="{9DD3DEE3-462A-4261-B59D-56285E5D9CB7}" presName="hierChild2" presStyleCnt="0"/>
      <dgm:spPr/>
    </dgm:pt>
    <dgm:pt modelId="{2551C1A7-DE50-4108-9266-6F69CB481F73}" type="pres">
      <dgm:prSet presAssocID="{85E4676F-DFDF-4B20-B1C3-60B5AF43D2D4}" presName="Name37" presStyleLbl="parChTrans1D2" presStyleIdx="0" presStyleCnt="3"/>
      <dgm:spPr/>
    </dgm:pt>
    <dgm:pt modelId="{89DBECB9-24C9-4020-8CF4-9284AF9BDD80}" type="pres">
      <dgm:prSet presAssocID="{E7F791D8-DB8B-4941-8E11-8F020F632050}" presName="hierRoot2" presStyleCnt="0">
        <dgm:presLayoutVars>
          <dgm:hierBranch val="init"/>
        </dgm:presLayoutVars>
      </dgm:prSet>
      <dgm:spPr/>
    </dgm:pt>
    <dgm:pt modelId="{DB19F846-2D40-48D2-818A-92BFF690C6F2}" type="pres">
      <dgm:prSet presAssocID="{E7F791D8-DB8B-4941-8E11-8F020F632050}" presName="rootComposite" presStyleCnt="0"/>
      <dgm:spPr/>
    </dgm:pt>
    <dgm:pt modelId="{D39158BC-EC6E-4B40-8CEA-F48343DDDE1E}" type="pres">
      <dgm:prSet presAssocID="{E7F791D8-DB8B-4941-8E11-8F020F632050}" presName="rootText" presStyleLbl="node2" presStyleIdx="0" presStyleCnt="2">
        <dgm:presLayoutVars>
          <dgm:chPref val="3"/>
        </dgm:presLayoutVars>
      </dgm:prSet>
      <dgm:spPr/>
    </dgm:pt>
    <dgm:pt modelId="{0493376E-91BF-4B13-8A9A-8F5A5A027EBD}" type="pres">
      <dgm:prSet presAssocID="{E7F791D8-DB8B-4941-8E11-8F020F632050}" presName="rootConnector" presStyleLbl="node2" presStyleIdx="0" presStyleCnt="2"/>
      <dgm:spPr/>
    </dgm:pt>
    <dgm:pt modelId="{381EAE75-06E3-4FC4-B3F3-D052430AA7A2}" type="pres">
      <dgm:prSet presAssocID="{E7F791D8-DB8B-4941-8E11-8F020F632050}" presName="hierChild4" presStyleCnt="0"/>
      <dgm:spPr/>
    </dgm:pt>
    <dgm:pt modelId="{7171381D-93AB-4757-BC70-85E048680918}" type="pres">
      <dgm:prSet presAssocID="{B5308BE8-90F6-43A8-855E-10D425C89E8B}" presName="Name37" presStyleLbl="parChTrans1D3" presStyleIdx="0" presStyleCnt="6"/>
      <dgm:spPr/>
    </dgm:pt>
    <dgm:pt modelId="{79E6D2E0-650D-4B3C-BD53-455F528E0347}" type="pres">
      <dgm:prSet presAssocID="{1C9732A4-6FF4-40D6-8D61-7C8DB349EAC3}" presName="hierRoot2" presStyleCnt="0">
        <dgm:presLayoutVars>
          <dgm:hierBranch val="init"/>
        </dgm:presLayoutVars>
      </dgm:prSet>
      <dgm:spPr/>
    </dgm:pt>
    <dgm:pt modelId="{B821B186-CDA8-46AB-B34F-024F7CF5F91E}" type="pres">
      <dgm:prSet presAssocID="{1C9732A4-6FF4-40D6-8D61-7C8DB349EAC3}" presName="rootComposite" presStyleCnt="0"/>
      <dgm:spPr/>
    </dgm:pt>
    <dgm:pt modelId="{DD866608-B532-4C1E-9B13-FA9B1BC79E0F}" type="pres">
      <dgm:prSet presAssocID="{1C9732A4-6FF4-40D6-8D61-7C8DB349EAC3}" presName="rootText" presStyleLbl="node3" presStyleIdx="0" presStyleCnt="6">
        <dgm:presLayoutVars>
          <dgm:chPref val="3"/>
        </dgm:presLayoutVars>
      </dgm:prSet>
      <dgm:spPr/>
    </dgm:pt>
    <dgm:pt modelId="{626D83D9-7DC2-49A7-9CAE-3B1BAE9F1C8F}" type="pres">
      <dgm:prSet presAssocID="{1C9732A4-6FF4-40D6-8D61-7C8DB349EAC3}" presName="rootConnector" presStyleLbl="node3" presStyleIdx="0" presStyleCnt="6"/>
      <dgm:spPr/>
    </dgm:pt>
    <dgm:pt modelId="{7529C337-3F1A-48D3-8371-05182F7FDDBA}" type="pres">
      <dgm:prSet presAssocID="{1C9732A4-6FF4-40D6-8D61-7C8DB349EAC3}" presName="hierChild4" presStyleCnt="0"/>
      <dgm:spPr/>
    </dgm:pt>
    <dgm:pt modelId="{F5C0DCC5-069C-41EF-96E8-5C44A861B80C}" type="pres">
      <dgm:prSet presAssocID="{1C9732A4-6FF4-40D6-8D61-7C8DB349EAC3}" presName="hierChild5" presStyleCnt="0"/>
      <dgm:spPr/>
    </dgm:pt>
    <dgm:pt modelId="{4617481A-8433-4D8A-9D92-8280515D5E7A}" type="pres">
      <dgm:prSet presAssocID="{03D29BEB-8C5A-4A99-8BC3-76E4815FCD31}" presName="Name37" presStyleLbl="parChTrans1D3" presStyleIdx="1" presStyleCnt="6"/>
      <dgm:spPr/>
    </dgm:pt>
    <dgm:pt modelId="{758C4A9F-C30E-4953-BF90-265BABA0581D}" type="pres">
      <dgm:prSet presAssocID="{8C988897-87B7-4517-9047-DFA7A88C38ED}" presName="hierRoot2" presStyleCnt="0">
        <dgm:presLayoutVars>
          <dgm:hierBranch val="init"/>
        </dgm:presLayoutVars>
      </dgm:prSet>
      <dgm:spPr/>
    </dgm:pt>
    <dgm:pt modelId="{DCC1CDE0-6ED1-45F1-95DA-E0969DACE8A5}" type="pres">
      <dgm:prSet presAssocID="{8C988897-87B7-4517-9047-DFA7A88C38ED}" presName="rootComposite" presStyleCnt="0"/>
      <dgm:spPr/>
    </dgm:pt>
    <dgm:pt modelId="{57776C70-4867-4A75-BB91-ECE4EAD53C8E}" type="pres">
      <dgm:prSet presAssocID="{8C988897-87B7-4517-9047-DFA7A88C38ED}" presName="rootText" presStyleLbl="node3" presStyleIdx="1" presStyleCnt="6">
        <dgm:presLayoutVars>
          <dgm:chPref val="3"/>
        </dgm:presLayoutVars>
      </dgm:prSet>
      <dgm:spPr/>
    </dgm:pt>
    <dgm:pt modelId="{15FEAFC3-CF70-4F3C-9079-5273AB9F4416}" type="pres">
      <dgm:prSet presAssocID="{8C988897-87B7-4517-9047-DFA7A88C38ED}" presName="rootConnector" presStyleLbl="node3" presStyleIdx="1" presStyleCnt="6"/>
      <dgm:spPr/>
    </dgm:pt>
    <dgm:pt modelId="{1B178C22-EA4D-4D36-B1AF-D7FC02535957}" type="pres">
      <dgm:prSet presAssocID="{8C988897-87B7-4517-9047-DFA7A88C38ED}" presName="hierChild4" presStyleCnt="0"/>
      <dgm:spPr/>
    </dgm:pt>
    <dgm:pt modelId="{5F27B44E-4915-466B-B832-3FF70F523FEB}" type="pres">
      <dgm:prSet presAssocID="{8987B43F-EE7D-4124-AB48-46F3316BE98E}" presName="Name37" presStyleLbl="parChTrans1D4" presStyleIdx="0" presStyleCnt="19"/>
      <dgm:spPr/>
    </dgm:pt>
    <dgm:pt modelId="{5B513C3E-6329-4A1B-BFEB-1ECA2EC96EE9}" type="pres">
      <dgm:prSet presAssocID="{6FDAC7CE-C7EF-40C3-B712-A3202A457CEF}" presName="hierRoot2" presStyleCnt="0">
        <dgm:presLayoutVars>
          <dgm:hierBranch val="init"/>
        </dgm:presLayoutVars>
      </dgm:prSet>
      <dgm:spPr/>
    </dgm:pt>
    <dgm:pt modelId="{A545F28C-A406-4024-AFE2-62D786B723BF}" type="pres">
      <dgm:prSet presAssocID="{6FDAC7CE-C7EF-40C3-B712-A3202A457CEF}" presName="rootComposite" presStyleCnt="0"/>
      <dgm:spPr/>
    </dgm:pt>
    <dgm:pt modelId="{C79CBE1C-5BCD-423C-9518-DB48B8FD8151}" type="pres">
      <dgm:prSet presAssocID="{6FDAC7CE-C7EF-40C3-B712-A3202A457CEF}" presName="rootText" presStyleLbl="node4" presStyleIdx="0" presStyleCnt="19" custLinFactNeighborY="-7280">
        <dgm:presLayoutVars>
          <dgm:chPref val="3"/>
        </dgm:presLayoutVars>
      </dgm:prSet>
      <dgm:spPr/>
    </dgm:pt>
    <dgm:pt modelId="{9438E796-ECFF-45AF-BDAD-F51F38B80D1A}" type="pres">
      <dgm:prSet presAssocID="{6FDAC7CE-C7EF-40C3-B712-A3202A457CEF}" presName="rootConnector" presStyleLbl="node4" presStyleIdx="0" presStyleCnt="19"/>
      <dgm:spPr/>
    </dgm:pt>
    <dgm:pt modelId="{6162516E-BD21-451B-ACAE-2F0D599DC449}" type="pres">
      <dgm:prSet presAssocID="{6FDAC7CE-C7EF-40C3-B712-A3202A457CEF}" presName="hierChild4" presStyleCnt="0"/>
      <dgm:spPr/>
    </dgm:pt>
    <dgm:pt modelId="{70B8ECED-25A7-4C38-9712-D19C6F945148}" type="pres">
      <dgm:prSet presAssocID="{6FDAC7CE-C7EF-40C3-B712-A3202A457CEF}" presName="hierChild5" presStyleCnt="0"/>
      <dgm:spPr/>
    </dgm:pt>
    <dgm:pt modelId="{07F66D99-B4F5-48C7-93B8-AB3D74072266}" type="pres">
      <dgm:prSet presAssocID="{F39F50FA-EEE3-4D7A-8C4B-320B85211430}" presName="Name37" presStyleLbl="parChTrans1D4" presStyleIdx="1" presStyleCnt="19"/>
      <dgm:spPr/>
    </dgm:pt>
    <dgm:pt modelId="{B72475A6-A71F-4C7F-ADD0-09334CAE0458}" type="pres">
      <dgm:prSet presAssocID="{C8DBDEE6-FC39-4EAC-9FE5-3F58BA91234D}" presName="hierRoot2" presStyleCnt="0">
        <dgm:presLayoutVars>
          <dgm:hierBranch val="init"/>
        </dgm:presLayoutVars>
      </dgm:prSet>
      <dgm:spPr/>
    </dgm:pt>
    <dgm:pt modelId="{DBADEBEC-4756-4E0A-8036-A14CBFB960EB}" type="pres">
      <dgm:prSet presAssocID="{C8DBDEE6-FC39-4EAC-9FE5-3F58BA91234D}" presName="rootComposite" presStyleCnt="0"/>
      <dgm:spPr/>
    </dgm:pt>
    <dgm:pt modelId="{8EEA6470-AFE7-4291-ACFD-8B7320266F1F}" type="pres">
      <dgm:prSet presAssocID="{C8DBDEE6-FC39-4EAC-9FE5-3F58BA91234D}" presName="rootText" presStyleLbl="node4" presStyleIdx="1" presStyleCnt="19" custLinFactNeighborY="-7280">
        <dgm:presLayoutVars>
          <dgm:chPref val="3"/>
        </dgm:presLayoutVars>
      </dgm:prSet>
      <dgm:spPr/>
    </dgm:pt>
    <dgm:pt modelId="{EC5FC57E-FFD1-4726-A3E4-2553AA7909D3}" type="pres">
      <dgm:prSet presAssocID="{C8DBDEE6-FC39-4EAC-9FE5-3F58BA91234D}" presName="rootConnector" presStyleLbl="node4" presStyleIdx="1" presStyleCnt="19"/>
      <dgm:spPr/>
    </dgm:pt>
    <dgm:pt modelId="{4D5A0297-B561-4CAE-B4AE-664240F079F6}" type="pres">
      <dgm:prSet presAssocID="{C8DBDEE6-FC39-4EAC-9FE5-3F58BA91234D}" presName="hierChild4" presStyleCnt="0"/>
      <dgm:spPr/>
    </dgm:pt>
    <dgm:pt modelId="{5C53ABD1-E59C-4483-BD92-6E2BFC55B79B}" type="pres">
      <dgm:prSet presAssocID="{C8DBDEE6-FC39-4EAC-9FE5-3F58BA91234D}" presName="hierChild5" presStyleCnt="0"/>
      <dgm:spPr/>
    </dgm:pt>
    <dgm:pt modelId="{983796B0-4E24-4037-A756-23DAC096EEDD}" type="pres">
      <dgm:prSet presAssocID="{62D16580-86F9-40F0-867C-B38652B85398}" presName="Name37" presStyleLbl="parChTrans1D4" presStyleIdx="2" presStyleCnt="19"/>
      <dgm:spPr/>
    </dgm:pt>
    <dgm:pt modelId="{4F03B16F-0CD1-4F73-AE40-373E35BB09F6}" type="pres">
      <dgm:prSet presAssocID="{039FA459-9C06-468E-B1F7-E5A82D5411B4}" presName="hierRoot2" presStyleCnt="0">
        <dgm:presLayoutVars>
          <dgm:hierBranch val="init"/>
        </dgm:presLayoutVars>
      </dgm:prSet>
      <dgm:spPr/>
    </dgm:pt>
    <dgm:pt modelId="{982166F2-55D1-4F2F-ACE6-7257FB6EBFCD}" type="pres">
      <dgm:prSet presAssocID="{039FA459-9C06-468E-B1F7-E5A82D5411B4}" presName="rootComposite" presStyleCnt="0"/>
      <dgm:spPr/>
    </dgm:pt>
    <dgm:pt modelId="{BDED5FC7-7ECA-4F93-98CF-FB3DDFEDBC40}" type="pres">
      <dgm:prSet presAssocID="{039FA459-9C06-468E-B1F7-E5A82D5411B4}" presName="rootText" presStyleLbl="node4" presStyleIdx="2" presStyleCnt="19" custLinFactNeighborY="-7280">
        <dgm:presLayoutVars>
          <dgm:chPref val="3"/>
        </dgm:presLayoutVars>
      </dgm:prSet>
      <dgm:spPr/>
    </dgm:pt>
    <dgm:pt modelId="{A35E73FB-957F-43C2-897A-B1C7D473680F}" type="pres">
      <dgm:prSet presAssocID="{039FA459-9C06-468E-B1F7-E5A82D5411B4}" presName="rootConnector" presStyleLbl="node4" presStyleIdx="2" presStyleCnt="19"/>
      <dgm:spPr/>
    </dgm:pt>
    <dgm:pt modelId="{DB20039D-E80F-45B7-BEFC-CC83647384D1}" type="pres">
      <dgm:prSet presAssocID="{039FA459-9C06-468E-B1F7-E5A82D5411B4}" presName="hierChild4" presStyleCnt="0"/>
      <dgm:spPr/>
    </dgm:pt>
    <dgm:pt modelId="{606C1A11-5207-4326-813F-D30B0337645E}" type="pres">
      <dgm:prSet presAssocID="{039FA459-9C06-468E-B1F7-E5A82D5411B4}" presName="hierChild5" presStyleCnt="0"/>
      <dgm:spPr/>
    </dgm:pt>
    <dgm:pt modelId="{5AC7132E-9C97-4821-9AB9-A1B5D43163E9}" type="pres">
      <dgm:prSet presAssocID="{FAF273E8-FB9C-4474-92C9-A0CDE5FEDDC1}" presName="Name37" presStyleLbl="parChTrans1D4" presStyleIdx="3" presStyleCnt="19"/>
      <dgm:spPr/>
    </dgm:pt>
    <dgm:pt modelId="{0BA209E4-D36D-409B-80D8-7847D7F6E3CE}" type="pres">
      <dgm:prSet presAssocID="{E557E23E-C3E6-42E2-868F-877B1D8E73CB}" presName="hierRoot2" presStyleCnt="0">
        <dgm:presLayoutVars>
          <dgm:hierBranch val="init"/>
        </dgm:presLayoutVars>
      </dgm:prSet>
      <dgm:spPr/>
    </dgm:pt>
    <dgm:pt modelId="{62AA3CB0-ABBF-4DF4-AD13-7566DE887EB4}" type="pres">
      <dgm:prSet presAssocID="{E557E23E-C3E6-42E2-868F-877B1D8E73CB}" presName="rootComposite" presStyleCnt="0"/>
      <dgm:spPr/>
    </dgm:pt>
    <dgm:pt modelId="{D0C06A9D-9519-414B-BFF8-974E13F78F47}" type="pres">
      <dgm:prSet presAssocID="{E557E23E-C3E6-42E2-868F-877B1D8E73CB}" presName="rootText" presStyleLbl="node4" presStyleIdx="3" presStyleCnt="19" custLinFactNeighborY="-7280">
        <dgm:presLayoutVars>
          <dgm:chPref val="3"/>
        </dgm:presLayoutVars>
      </dgm:prSet>
      <dgm:spPr/>
    </dgm:pt>
    <dgm:pt modelId="{A88EF65C-30E4-4BAB-91D7-5FCA3657199C}" type="pres">
      <dgm:prSet presAssocID="{E557E23E-C3E6-42E2-868F-877B1D8E73CB}" presName="rootConnector" presStyleLbl="node4" presStyleIdx="3" presStyleCnt="19"/>
      <dgm:spPr/>
    </dgm:pt>
    <dgm:pt modelId="{1A509501-179F-4793-AFAC-EA635C5BE1EA}" type="pres">
      <dgm:prSet presAssocID="{E557E23E-C3E6-42E2-868F-877B1D8E73CB}" presName="hierChild4" presStyleCnt="0"/>
      <dgm:spPr/>
    </dgm:pt>
    <dgm:pt modelId="{45560DA3-8A58-46ED-A2B2-045EFA99D928}" type="pres">
      <dgm:prSet presAssocID="{E557E23E-C3E6-42E2-868F-877B1D8E73CB}" presName="hierChild5" presStyleCnt="0"/>
      <dgm:spPr/>
    </dgm:pt>
    <dgm:pt modelId="{0CBDE9EB-5821-4336-A084-BD7690A27F60}" type="pres">
      <dgm:prSet presAssocID="{83BD93D6-7A0E-4A44-AB13-3EF7F617E4A6}" presName="Name37" presStyleLbl="parChTrans1D4" presStyleIdx="4" presStyleCnt="19"/>
      <dgm:spPr/>
    </dgm:pt>
    <dgm:pt modelId="{D00C3EFE-24A9-474F-A311-8B3689436531}" type="pres">
      <dgm:prSet presAssocID="{97751B3B-AFD0-4B86-8DBD-7987C92C6E32}" presName="hierRoot2" presStyleCnt="0">
        <dgm:presLayoutVars>
          <dgm:hierBranch val="init"/>
        </dgm:presLayoutVars>
      </dgm:prSet>
      <dgm:spPr/>
    </dgm:pt>
    <dgm:pt modelId="{97E76F27-4B03-412B-BE11-A7A8058031CA}" type="pres">
      <dgm:prSet presAssocID="{97751B3B-AFD0-4B86-8DBD-7987C92C6E32}" presName="rootComposite" presStyleCnt="0"/>
      <dgm:spPr/>
    </dgm:pt>
    <dgm:pt modelId="{90ACCBF6-8CCD-45FE-A2D6-178440392A5C}" type="pres">
      <dgm:prSet presAssocID="{97751B3B-AFD0-4B86-8DBD-7987C92C6E32}" presName="rootText" presStyleLbl="node4" presStyleIdx="4" presStyleCnt="19" custLinFactNeighborY="-7280">
        <dgm:presLayoutVars>
          <dgm:chPref val="3"/>
        </dgm:presLayoutVars>
      </dgm:prSet>
      <dgm:spPr/>
    </dgm:pt>
    <dgm:pt modelId="{0F1C5F80-8969-4F48-BD14-9FA94170E033}" type="pres">
      <dgm:prSet presAssocID="{97751B3B-AFD0-4B86-8DBD-7987C92C6E32}" presName="rootConnector" presStyleLbl="node4" presStyleIdx="4" presStyleCnt="19"/>
      <dgm:spPr/>
    </dgm:pt>
    <dgm:pt modelId="{39B9E323-7C7C-438C-8EDD-E99CB8E8E4EF}" type="pres">
      <dgm:prSet presAssocID="{97751B3B-AFD0-4B86-8DBD-7987C92C6E32}" presName="hierChild4" presStyleCnt="0"/>
      <dgm:spPr/>
    </dgm:pt>
    <dgm:pt modelId="{0F884F7E-E24C-4F19-804E-E06856C1A023}" type="pres">
      <dgm:prSet presAssocID="{97751B3B-AFD0-4B86-8DBD-7987C92C6E32}" presName="hierChild5" presStyleCnt="0"/>
      <dgm:spPr/>
    </dgm:pt>
    <dgm:pt modelId="{2614C827-FB91-461A-A733-F1E13A0FE48A}" type="pres">
      <dgm:prSet presAssocID="{8C988897-87B7-4517-9047-DFA7A88C38ED}" presName="hierChild5" presStyleCnt="0"/>
      <dgm:spPr/>
    </dgm:pt>
    <dgm:pt modelId="{9DFDC392-D7E9-4EFA-91C1-637CE0F3CB14}" type="pres">
      <dgm:prSet presAssocID="{FC5B815B-FF58-4D5A-AAF8-9B53BC2C56D1}" presName="Name37" presStyleLbl="parChTrans1D3" presStyleIdx="2" presStyleCnt="6"/>
      <dgm:spPr/>
    </dgm:pt>
    <dgm:pt modelId="{DFD22D27-3764-4CA2-B096-21DF26393BD4}" type="pres">
      <dgm:prSet presAssocID="{DBDCEDFB-608B-4A42-8D1C-E32FF44E1AA3}" presName="hierRoot2" presStyleCnt="0">
        <dgm:presLayoutVars>
          <dgm:hierBranch val="init"/>
        </dgm:presLayoutVars>
      </dgm:prSet>
      <dgm:spPr/>
    </dgm:pt>
    <dgm:pt modelId="{58AA9A03-210D-4578-A296-A1D511C79BAC}" type="pres">
      <dgm:prSet presAssocID="{DBDCEDFB-608B-4A42-8D1C-E32FF44E1AA3}" presName="rootComposite" presStyleCnt="0"/>
      <dgm:spPr/>
    </dgm:pt>
    <dgm:pt modelId="{3D20D6D5-CB2A-4FD8-8A02-4CBAE6D30986}" type="pres">
      <dgm:prSet presAssocID="{DBDCEDFB-608B-4A42-8D1C-E32FF44E1AA3}" presName="rootText" presStyleLbl="node3" presStyleIdx="2" presStyleCnt="6">
        <dgm:presLayoutVars>
          <dgm:chPref val="3"/>
        </dgm:presLayoutVars>
      </dgm:prSet>
      <dgm:spPr/>
    </dgm:pt>
    <dgm:pt modelId="{8B94B0B0-A045-4682-A903-89880EC43062}" type="pres">
      <dgm:prSet presAssocID="{DBDCEDFB-608B-4A42-8D1C-E32FF44E1AA3}" presName="rootConnector" presStyleLbl="node3" presStyleIdx="2" presStyleCnt="6"/>
      <dgm:spPr/>
    </dgm:pt>
    <dgm:pt modelId="{0C33098A-1235-4E7D-8915-AFA963EB0D56}" type="pres">
      <dgm:prSet presAssocID="{DBDCEDFB-608B-4A42-8D1C-E32FF44E1AA3}" presName="hierChild4" presStyleCnt="0"/>
      <dgm:spPr/>
    </dgm:pt>
    <dgm:pt modelId="{EC1D73F8-57E9-457F-8654-686756042FBD}" type="pres">
      <dgm:prSet presAssocID="{DF6A2EB0-C2F6-4627-BDB3-F3F1C0532CDD}" presName="Name37" presStyleLbl="parChTrans1D4" presStyleIdx="5" presStyleCnt="19"/>
      <dgm:spPr/>
    </dgm:pt>
    <dgm:pt modelId="{F36DA18F-26A3-4078-9C98-F3F4E8A353F7}" type="pres">
      <dgm:prSet presAssocID="{4DC35318-58C7-4147-8858-E425136D1683}" presName="hierRoot2" presStyleCnt="0">
        <dgm:presLayoutVars>
          <dgm:hierBranch val="init"/>
        </dgm:presLayoutVars>
      </dgm:prSet>
      <dgm:spPr/>
    </dgm:pt>
    <dgm:pt modelId="{BADB6371-B89A-4B2C-AF93-121404DD68A7}" type="pres">
      <dgm:prSet presAssocID="{4DC35318-58C7-4147-8858-E425136D1683}" presName="rootComposite" presStyleCnt="0"/>
      <dgm:spPr/>
    </dgm:pt>
    <dgm:pt modelId="{15AF2AF8-D5F0-498F-90EB-7B4704CB01AF}" type="pres">
      <dgm:prSet presAssocID="{4DC35318-58C7-4147-8858-E425136D1683}" presName="rootText" presStyleLbl="node4" presStyleIdx="5" presStyleCnt="19" custLinFactNeighborY="-7280">
        <dgm:presLayoutVars>
          <dgm:chPref val="3"/>
        </dgm:presLayoutVars>
      </dgm:prSet>
      <dgm:spPr/>
    </dgm:pt>
    <dgm:pt modelId="{02C4CFB1-59D2-4729-AA7C-CF68C37FF919}" type="pres">
      <dgm:prSet presAssocID="{4DC35318-58C7-4147-8858-E425136D1683}" presName="rootConnector" presStyleLbl="node4" presStyleIdx="5" presStyleCnt="19"/>
      <dgm:spPr/>
    </dgm:pt>
    <dgm:pt modelId="{5024C93A-081A-491C-8EC4-AEFE818E283E}" type="pres">
      <dgm:prSet presAssocID="{4DC35318-58C7-4147-8858-E425136D1683}" presName="hierChild4" presStyleCnt="0"/>
      <dgm:spPr/>
    </dgm:pt>
    <dgm:pt modelId="{C1A2B2B3-AE3B-40CE-AB86-45DDF7B9BA72}" type="pres">
      <dgm:prSet presAssocID="{4DC35318-58C7-4147-8858-E425136D1683}" presName="hierChild5" presStyleCnt="0"/>
      <dgm:spPr/>
    </dgm:pt>
    <dgm:pt modelId="{4FB7D99D-33FC-40B1-B378-A6CD35922869}" type="pres">
      <dgm:prSet presAssocID="{0C92A346-77A6-40EF-901B-1E483C88E84C}" presName="Name37" presStyleLbl="parChTrans1D4" presStyleIdx="6" presStyleCnt="19"/>
      <dgm:spPr/>
    </dgm:pt>
    <dgm:pt modelId="{393E044A-EC03-4EA6-8A83-F425C4EB90B0}" type="pres">
      <dgm:prSet presAssocID="{4C4BD85B-0727-42BB-9783-8216A795E60F}" presName="hierRoot2" presStyleCnt="0">
        <dgm:presLayoutVars>
          <dgm:hierBranch val="init"/>
        </dgm:presLayoutVars>
      </dgm:prSet>
      <dgm:spPr/>
    </dgm:pt>
    <dgm:pt modelId="{69100B25-913B-4A59-BC47-06D1E52E09D0}" type="pres">
      <dgm:prSet presAssocID="{4C4BD85B-0727-42BB-9783-8216A795E60F}" presName="rootComposite" presStyleCnt="0"/>
      <dgm:spPr/>
    </dgm:pt>
    <dgm:pt modelId="{85ABCF13-624C-447D-8FF5-0CE2E7720E42}" type="pres">
      <dgm:prSet presAssocID="{4C4BD85B-0727-42BB-9783-8216A795E60F}" presName="rootText" presStyleLbl="node4" presStyleIdx="6" presStyleCnt="19" custLinFactNeighborY="-7280">
        <dgm:presLayoutVars>
          <dgm:chPref val="3"/>
        </dgm:presLayoutVars>
      </dgm:prSet>
      <dgm:spPr/>
    </dgm:pt>
    <dgm:pt modelId="{63D41D46-AC02-4BF1-94A7-5E086860FB7F}" type="pres">
      <dgm:prSet presAssocID="{4C4BD85B-0727-42BB-9783-8216A795E60F}" presName="rootConnector" presStyleLbl="node4" presStyleIdx="6" presStyleCnt="19"/>
      <dgm:spPr/>
    </dgm:pt>
    <dgm:pt modelId="{B8280FAA-ADC6-436D-9D7D-DF198B2E1D9D}" type="pres">
      <dgm:prSet presAssocID="{4C4BD85B-0727-42BB-9783-8216A795E60F}" presName="hierChild4" presStyleCnt="0"/>
      <dgm:spPr/>
    </dgm:pt>
    <dgm:pt modelId="{3280F800-AE09-485D-9A29-8ED5910378E3}" type="pres">
      <dgm:prSet presAssocID="{4C4BD85B-0727-42BB-9783-8216A795E60F}" presName="hierChild5" presStyleCnt="0"/>
      <dgm:spPr/>
    </dgm:pt>
    <dgm:pt modelId="{B08448DC-351C-4B03-9C3B-2CBC8AADAC90}" type="pres">
      <dgm:prSet presAssocID="{EE3A1FAB-7C4B-4877-92C0-F65374159DFF}" presName="Name37" presStyleLbl="parChTrans1D4" presStyleIdx="7" presStyleCnt="19"/>
      <dgm:spPr/>
    </dgm:pt>
    <dgm:pt modelId="{345CF527-03E6-480C-AB03-66BF200156D1}" type="pres">
      <dgm:prSet presAssocID="{36D2158B-93CC-43DE-AB88-9EFEF1C7063B}" presName="hierRoot2" presStyleCnt="0">
        <dgm:presLayoutVars>
          <dgm:hierBranch val="init"/>
        </dgm:presLayoutVars>
      </dgm:prSet>
      <dgm:spPr/>
    </dgm:pt>
    <dgm:pt modelId="{2D0CD864-AFD9-4856-98B8-D11A5F6F1B6A}" type="pres">
      <dgm:prSet presAssocID="{36D2158B-93CC-43DE-AB88-9EFEF1C7063B}" presName="rootComposite" presStyleCnt="0"/>
      <dgm:spPr/>
    </dgm:pt>
    <dgm:pt modelId="{9FFF4862-2D69-492C-8F56-F0C1D1708546}" type="pres">
      <dgm:prSet presAssocID="{36D2158B-93CC-43DE-AB88-9EFEF1C7063B}" presName="rootText" presStyleLbl="node4" presStyleIdx="7" presStyleCnt="19" custLinFactNeighborY="-7280">
        <dgm:presLayoutVars>
          <dgm:chPref val="3"/>
        </dgm:presLayoutVars>
      </dgm:prSet>
      <dgm:spPr/>
    </dgm:pt>
    <dgm:pt modelId="{14B9B20F-EEAC-49AC-860E-E9C3552832C2}" type="pres">
      <dgm:prSet presAssocID="{36D2158B-93CC-43DE-AB88-9EFEF1C7063B}" presName="rootConnector" presStyleLbl="node4" presStyleIdx="7" presStyleCnt="19"/>
      <dgm:spPr/>
    </dgm:pt>
    <dgm:pt modelId="{E08185D8-2463-4EB5-9FA3-747727B27C7E}" type="pres">
      <dgm:prSet presAssocID="{36D2158B-93CC-43DE-AB88-9EFEF1C7063B}" presName="hierChild4" presStyleCnt="0"/>
      <dgm:spPr/>
    </dgm:pt>
    <dgm:pt modelId="{81A6082A-4446-41C9-BE1F-89BFF025AE28}" type="pres">
      <dgm:prSet presAssocID="{36D2158B-93CC-43DE-AB88-9EFEF1C7063B}" presName="hierChild5" presStyleCnt="0"/>
      <dgm:spPr/>
    </dgm:pt>
    <dgm:pt modelId="{F6798CCF-28BC-4A27-B715-F4CC0F797FAF}" type="pres">
      <dgm:prSet presAssocID="{D96AFAE7-FE68-40D8-82B7-449AF30CCC2B}" presName="Name37" presStyleLbl="parChTrans1D4" presStyleIdx="8" presStyleCnt="19"/>
      <dgm:spPr/>
    </dgm:pt>
    <dgm:pt modelId="{E3595B41-F1EA-4239-BCE9-B93649BC9892}" type="pres">
      <dgm:prSet presAssocID="{A49BBB18-A6FD-44E5-A65B-0C9981C38114}" presName="hierRoot2" presStyleCnt="0">
        <dgm:presLayoutVars>
          <dgm:hierBranch val="init"/>
        </dgm:presLayoutVars>
      </dgm:prSet>
      <dgm:spPr/>
    </dgm:pt>
    <dgm:pt modelId="{ACDE7B0D-E42F-4C9D-A476-4E8F3BA3D7B4}" type="pres">
      <dgm:prSet presAssocID="{A49BBB18-A6FD-44E5-A65B-0C9981C38114}" presName="rootComposite" presStyleCnt="0"/>
      <dgm:spPr/>
    </dgm:pt>
    <dgm:pt modelId="{EA703891-59A3-4402-9351-61C8ECB0EE88}" type="pres">
      <dgm:prSet presAssocID="{A49BBB18-A6FD-44E5-A65B-0C9981C38114}" presName="rootText" presStyleLbl="node4" presStyleIdx="8" presStyleCnt="19" custLinFactNeighborY="-7280">
        <dgm:presLayoutVars>
          <dgm:chPref val="3"/>
        </dgm:presLayoutVars>
      </dgm:prSet>
      <dgm:spPr/>
    </dgm:pt>
    <dgm:pt modelId="{E63178FE-4D58-419B-A8C9-74DAD9516F21}" type="pres">
      <dgm:prSet presAssocID="{A49BBB18-A6FD-44E5-A65B-0C9981C38114}" presName="rootConnector" presStyleLbl="node4" presStyleIdx="8" presStyleCnt="19"/>
      <dgm:spPr/>
    </dgm:pt>
    <dgm:pt modelId="{AA92F777-F97B-47D1-8CCD-352019F5C26E}" type="pres">
      <dgm:prSet presAssocID="{A49BBB18-A6FD-44E5-A65B-0C9981C38114}" presName="hierChild4" presStyleCnt="0"/>
      <dgm:spPr/>
    </dgm:pt>
    <dgm:pt modelId="{791AE345-F98B-4A18-A042-252ADF423185}" type="pres">
      <dgm:prSet presAssocID="{A49BBB18-A6FD-44E5-A65B-0C9981C38114}" presName="hierChild5" presStyleCnt="0"/>
      <dgm:spPr/>
    </dgm:pt>
    <dgm:pt modelId="{1A834F76-1D49-4F9C-9A9B-722FDD68DB58}" type="pres">
      <dgm:prSet presAssocID="{3420DA78-1189-4823-8264-4E3D7CD5A180}" presName="Name37" presStyleLbl="parChTrans1D4" presStyleIdx="9" presStyleCnt="19"/>
      <dgm:spPr/>
    </dgm:pt>
    <dgm:pt modelId="{D40281E0-08B9-40E5-930C-1028722D88DF}" type="pres">
      <dgm:prSet presAssocID="{D0BD1B9D-6FCD-4A08-9C31-03A5F2B41B4F}" presName="hierRoot2" presStyleCnt="0">
        <dgm:presLayoutVars>
          <dgm:hierBranch val="init"/>
        </dgm:presLayoutVars>
      </dgm:prSet>
      <dgm:spPr/>
    </dgm:pt>
    <dgm:pt modelId="{AA3E8930-311B-4605-B0BD-C8E613CDBA6C}" type="pres">
      <dgm:prSet presAssocID="{D0BD1B9D-6FCD-4A08-9C31-03A5F2B41B4F}" presName="rootComposite" presStyleCnt="0"/>
      <dgm:spPr/>
    </dgm:pt>
    <dgm:pt modelId="{AECCE8B3-DA7B-4E76-B030-79E4CD768A70}" type="pres">
      <dgm:prSet presAssocID="{D0BD1B9D-6FCD-4A08-9C31-03A5F2B41B4F}" presName="rootText" presStyleLbl="node4" presStyleIdx="9" presStyleCnt="19" custLinFactNeighborY="-7280">
        <dgm:presLayoutVars>
          <dgm:chPref val="3"/>
        </dgm:presLayoutVars>
      </dgm:prSet>
      <dgm:spPr/>
    </dgm:pt>
    <dgm:pt modelId="{8DF8AE0C-89AC-401A-8557-0836A5A82525}" type="pres">
      <dgm:prSet presAssocID="{D0BD1B9D-6FCD-4A08-9C31-03A5F2B41B4F}" presName="rootConnector" presStyleLbl="node4" presStyleIdx="9" presStyleCnt="19"/>
      <dgm:spPr/>
    </dgm:pt>
    <dgm:pt modelId="{3B76DEF5-551C-4C15-AF5D-D594ED0B4EAD}" type="pres">
      <dgm:prSet presAssocID="{D0BD1B9D-6FCD-4A08-9C31-03A5F2B41B4F}" presName="hierChild4" presStyleCnt="0"/>
      <dgm:spPr/>
    </dgm:pt>
    <dgm:pt modelId="{A15BD53F-C98A-463C-9712-61DB06D719C7}" type="pres">
      <dgm:prSet presAssocID="{D0BD1B9D-6FCD-4A08-9C31-03A5F2B41B4F}" presName="hierChild5" presStyleCnt="0"/>
      <dgm:spPr/>
    </dgm:pt>
    <dgm:pt modelId="{81EC3E32-9936-4258-BA62-6F3125D3B237}" type="pres">
      <dgm:prSet presAssocID="{CF2BD7BF-C222-47C6-8576-73591C998929}" presName="Name37" presStyleLbl="parChTrans1D4" presStyleIdx="10" presStyleCnt="19"/>
      <dgm:spPr/>
    </dgm:pt>
    <dgm:pt modelId="{494F5940-2A27-42CB-9C8C-5D193B8E3332}" type="pres">
      <dgm:prSet presAssocID="{D3EAEA6F-8226-4F40-AAE6-0C94EE3EF556}" presName="hierRoot2" presStyleCnt="0">
        <dgm:presLayoutVars>
          <dgm:hierBranch val="init"/>
        </dgm:presLayoutVars>
      </dgm:prSet>
      <dgm:spPr/>
    </dgm:pt>
    <dgm:pt modelId="{5F2F2916-F94D-447D-A41A-D30ED22DAF9C}" type="pres">
      <dgm:prSet presAssocID="{D3EAEA6F-8226-4F40-AAE6-0C94EE3EF556}" presName="rootComposite" presStyleCnt="0"/>
      <dgm:spPr/>
    </dgm:pt>
    <dgm:pt modelId="{5198AF0E-3D25-4505-8815-4D02133E968A}" type="pres">
      <dgm:prSet presAssocID="{D3EAEA6F-8226-4F40-AAE6-0C94EE3EF556}" presName="rootText" presStyleLbl="node4" presStyleIdx="10" presStyleCnt="19" custLinFactNeighborY="-7280">
        <dgm:presLayoutVars>
          <dgm:chPref val="3"/>
        </dgm:presLayoutVars>
      </dgm:prSet>
      <dgm:spPr/>
    </dgm:pt>
    <dgm:pt modelId="{7D9A8CB1-0CBA-42F7-9C9F-8DF225EEF363}" type="pres">
      <dgm:prSet presAssocID="{D3EAEA6F-8226-4F40-AAE6-0C94EE3EF556}" presName="rootConnector" presStyleLbl="node4" presStyleIdx="10" presStyleCnt="19"/>
      <dgm:spPr/>
    </dgm:pt>
    <dgm:pt modelId="{9BDD3803-6DB7-47AF-A5CF-F85FE242E4E4}" type="pres">
      <dgm:prSet presAssocID="{D3EAEA6F-8226-4F40-AAE6-0C94EE3EF556}" presName="hierChild4" presStyleCnt="0"/>
      <dgm:spPr/>
    </dgm:pt>
    <dgm:pt modelId="{C4E4A706-7B07-47D2-B868-05536D1C3EB9}" type="pres">
      <dgm:prSet presAssocID="{D3EAEA6F-8226-4F40-AAE6-0C94EE3EF556}" presName="hierChild5" presStyleCnt="0"/>
      <dgm:spPr/>
    </dgm:pt>
    <dgm:pt modelId="{88F4D8B3-9B3B-4B58-985A-898FFA141EE3}" type="pres">
      <dgm:prSet presAssocID="{DBDCEDFB-608B-4A42-8D1C-E32FF44E1AA3}" presName="hierChild5" presStyleCnt="0"/>
      <dgm:spPr/>
    </dgm:pt>
    <dgm:pt modelId="{782F390F-3643-443C-9DED-152C7AA209BB}" type="pres">
      <dgm:prSet presAssocID="{E7F791D8-DB8B-4941-8E11-8F020F632050}" presName="hierChild5" presStyleCnt="0"/>
      <dgm:spPr/>
    </dgm:pt>
    <dgm:pt modelId="{6E82193E-6543-4E49-84CB-9B5D897936A4}" type="pres">
      <dgm:prSet presAssocID="{50F89145-1688-493A-881E-D47538A1E55B}" presName="Name37" presStyleLbl="parChTrans1D2" presStyleIdx="1" presStyleCnt="3"/>
      <dgm:spPr/>
    </dgm:pt>
    <dgm:pt modelId="{CCB2737F-91A8-4B4A-9647-72FFF91EE67B}" type="pres">
      <dgm:prSet presAssocID="{54888C6A-2E62-42EC-ABE3-0DF87A629214}" presName="hierRoot2" presStyleCnt="0">
        <dgm:presLayoutVars>
          <dgm:hierBranch val="init"/>
        </dgm:presLayoutVars>
      </dgm:prSet>
      <dgm:spPr/>
    </dgm:pt>
    <dgm:pt modelId="{A32DED1E-AA8C-4443-A8B8-C74028D4C049}" type="pres">
      <dgm:prSet presAssocID="{54888C6A-2E62-42EC-ABE3-0DF87A629214}" presName="rootComposite" presStyleCnt="0"/>
      <dgm:spPr/>
    </dgm:pt>
    <dgm:pt modelId="{BA7F7D44-6199-4026-A414-99CBB0B6525A}" type="pres">
      <dgm:prSet presAssocID="{54888C6A-2E62-42EC-ABE3-0DF87A629214}" presName="rootText" presStyleLbl="node2" presStyleIdx="1" presStyleCnt="2">
        <dgm:presLayoutVars>
          <dgm:chPref val="3"/>
        </dgm:presLayoutVars>
      </dgm:prSet>
      <dgm:spPr/>
    </dgm:pt>
    <dgm:pt modelId="{CAD708EC-D241-4DCA-A9E7-102D8408B684}" type="pres">
      <dgm:prSet presAssocID="{54888C6A-2E62-42EC-ABE3-0DF87A629214}" presName="rootConnector" presStyleLbl="node2" presStyleIdx="1" presStyleCnt="2"/>
      <dgm:spPr/>
    </dgm:pt>
    <dgm:pt modelId="{0CAB6CC0-8EB8-495E-AA0F-DE90BA34CC65}" type="pres">
      <dgm:prSet presAssocID="{54888C6A-2E62-42EC-ABE3-0DF87A629214}" presName="hierChild4" presStyleCnt="0"/>
      <dgm:spPr/>
    </dgm:pt>
    <dgm:pt modelId="{95308955-17D6-43F3-99DD-85B0F457CC6A}" type="pres">
      <dgm:prSet presAssocID="{7C6CCB63-A967-4C87-94BE-1382925217CD}" presName="Name37" presStyleLbl="parChTrans1D3" presStyleIdx="3" presStyleCnt="6"/>
      <dgm:spPr/>
    </dgm:pt>
    <dgm:pt modelId="{BF02387D-9603-48B9-80D4-7CC1B395F388}" type="pres">
      <dgm:prSet presAssocID="{0D6DE103-5F19-4F21-AF6F-B55ED5F6FC89}" presName="hierRoot2" presStyleCnt="0">
        <dgm:presLayoutVars>
          <dgm:hierBranch val="init"/>
        </dgm:presLayoutVars>
      </dgm:prSet>
      <dgm:spPr/>
    </dgm:pt>
    <dgm:pt modelId="{65A0286F-EB29-406D-8CE1-0923D5C32407}" type="pres">
      <dgm:prSet presAssocID="{0D6DE103-5F19-4F21-AF6F-B55ED5F6FC89}" presName="rootComposite" presStyleCnt="0"/>
      <dgm:spPr/>
    </dgm:pt>
    <dgm:pt modelId="{E5A21C22-57A1-4FF6-8FF7-2D27BC5935DC}" type="pres">
      <dgm:prSet presAssocID="{0D6DE103-5F19-4F21-AF6F-B55ED5F6FC89}" presName="rootText" presStyleLbl="node3" presStyleIdx="3" presStyleCnt="6">
        <dgm:presLayoutVars>
          <dgm:chPref val="3"/>
        </dgm:presLayoutVars>
      </dgm:prSet>
      <dgm:spPr/>
    </dgm:pt>
    <dgm:pt modelId="{79144865-3B4A-444C-AEA8-09D3B2F37F0F}" type="pres">
      <dgm:prSet presAssocID="{0D6DE103-5F19-4F21-AF6F-B55ED5F6FC89}" presName="rootConnector" presStyleLbl="node3" presStyleIdx="3" presStyleCnt="6"/>
      <dgm:spPr/>
    </dgm:pt>
    <dgm:pt modelId="{4C26B355-9DC2-466A-8FC3-2F8AC1F118ED}" type="pres">
      <dgm:prSet presAssocID="{0D6DE103-5F19-4F21-AF6F-B55ED5F6FC89}" presName="hierChild4" presStyleCnt="0"/>
      <dgm:spPr/>
    </dgm:pt>
    <dgm:pt modelId="{F07CA32F-02CF-426B-B580-0A590166208E}" type="pres">
      <dgm:prSet presAssocID="{0D6DE103-5F19-4F21-AF6F-B55ED5F6FC89}" presName="hierChild5" presStyleCnt="0"/>
      <dgm:spPr/>
    </dgm:pt>
    <dgm:pt modelId="{26B8BE0C-B6B2-41D8-9DFA-F1DA7BCA117F}" type="pres">
      <dgm:prSet presAssocID="{1FB87FED-6972-430F-AC0C-71746CE494E0}" presName="Name37" presStyleLbl="parChTrans1D3" presStyleIdx="4" presStyleCnt="6"/>
      <dgm:spPr/>
    </dgm:pt>
    <dgm:pt modelId="{AB1EF0A5-1D70-43F0-82CC-EF14CE76CFC0}" type="pres">
      <dgm:prSet presAssocID="{CEFE54B5-1BF0-40D8-A238-41A7896496D8}" presName="hierRoot2" presStyleCnt="0">
        <dgm:presLayoutVars>
          <dgm:hierBranch val="init"/>
        </dgm:presLayoutVars>
      </dgm:prSet>
      <dgm:spPr/>
    </dgm:pt>
    <dgm:pt modelId="{41F6E431-DC8B-416E-A517-9DD10D1E79A3}" type="pres">
      <dgm:prSet presAssocID="{CEFE54B5-1BF0-40D8-A238-41A7896496D8}" presName="rootComposite" presStyleCnt="0"/>
      <dgm:spPr/>
    </dgm:pt>
    <dgm:pt modelId="{E180F611-3F02-473E-B8B3-2F7FCC74AF64}" type="pres">
      <dgm:prSet presAssocID="{CEFE54B5-1BF0-40D8-A238-41A7896496D8}" presName="rootText" presStyleLbl="node3" presStyleIdx="4" presStyleCnt="6">
        <dgm:presLayoutVars>
          <dgm:chPref val="3"/>
        </dgm:presLayoutVars>
      </dgm:prSet>
      <dgm:spPr/>
    </dgm:pt>
    <dgm:pt modelId="{D8C76C5F-CACD-4BE9-9210-01DA99ABE337}" type="pres">
      <dgm:prSet presAssocID="{CEFE54B5-1BF0-40D8-A238-41A7896496D8}" presName="rootConnector" presStyleLbl="node3" presStyleIdx="4" presStyleCnt="6"/>
      <dgm:spPr/>
    </dgm:pt>
    <dgm:pt modelId="{94DF78DD-6BB2-4482-A3AF-4FDE94ED955D}" type="pres">
      <dgm:prSet presAssocID="{CEFE54B5-1BF0-40D8-A238-41A7896496D8}" presName="hierChild4" presStyleCnt="0"/>
      <dgm:spPr/>
    </dgm:pt>
    <dgm:pt modelId="{6C59BE90-8A13-4704-9367-E91AC7A75F0B}" type="pres">
      <dgm:prSet presAssocID="{30F82C44-F97D-491F-8381-068EEDDCD21B}" presName="Name37" presStyleLbl="parChTrans1D4" presStyleIdx="11" presStyleCnt="19"/>
      <dgm:spPr/>
    </dgm:pt>
    <dgm:pt modelId="{0F770B02-F6D0-4D7B-AD59-E4DDAA7BBE25}" type="pres">
      <dgm:prSet presAssocID="{4D793E25-9924-492C-B00A-32F155E6050A}" presName="hierRoot2" presStyleCnt="0">
        <dgm:presLayoutVars>
          <dgm:hierBranch val="init"/>
        </dgm:presLayoutVars>
      </dgm:prSet>
      <dgm:spPr/>
    </dgm:pt>
    <dgm:pt modelId="{785C12E3-7B0C-4835-B07F-FD69D1AC0571}" type="pres">
      <dgm:prSet presAssocID="{4D793E25-9924-492C-B00A-32F155E6050A}" presName="rootComposite" presStyleCnt="0"/>
      <dgm:spPr/>
    </dgm:pt>
    <dgm:pt modelId="{EF7362E5-E6E8-41B8-BEAF-EEAD6195ADB6}" type="pres">
      <dgm:prSet presAssocID="{4D793E25-9924-492C-B00A-32F155E6050A}" presName="rootText" presStyleLbl="node4" presStyleIdx="11" presStyleCnt="19" custLinFactNeighborY="-7280">
        <dgm:presLayoutVars>
          <dgm:chPref val="3"/>
        </dgm:presLayoutVars>
      </dgm:prSet>
      <dgm:spPr/>
    </dgm:pt>
    <dgm:pt modelId="{D8FC26CB-72A7-4E2F-A201-F28F11841DA8}" type="pres">
      <dgm:prSet presAssocID="{4D793E25-9924-492C-B00A-32F155E6050A}" presName="rootConnector" presStyleLbl="node4" presStyleIdx="11" presStyleCnt="19"/>
      <dgm:spPr/>
    </dgm:pt>
    <dgm:pt modelId="{668A6F47-67D9-43B5-A34A-5E43C24DFC0F}" type="pres">
      <dgm:prSet presAssocID="{4D793E25-9924-492C-B00A-32F155E6050A}" presName="hierChild4" presStyleCnt="0"/>
      <dgm:spPr/>
    </dgm:pt>
    <dgm:pt modelId="{2CE67411-D5FF-4332-A41B-0D2F8BDC1639}" type="pres">
      <dgm:prSet presAssocID="{4D793E25-9924-492C-B00A-32F155E6050A}" presName="hierChild5" presStyleCnt="0"/>
      <dgm:spPr/>
    </dgm:pt>
    <dgm:pt modelId="{281EE699-AAC5-4334-987D-753B1F4AC9A0}" type="pres">
      <dgm:prSet presAssocID="{D1805DA1-904F-4B00-AF8A-FF206D51C6A2}" presName="Name37" presStyleLbl="parChTrans1D4" presStyleIdx="12" presStyleCnt="19"/>
      <dgm:spPr/>
    </dgm:pt>
    <dgm:pt modelId="{95B9E142-D57D-4228-AF03-738B1632E56F}" type="pres">
      <dgm:prSet presAssocID="{761A1E22-8C8A-4152-B1C8-4F9F35F000B9}" presName="hierRoot2" presStyleCnt="0">
        <dgm:presLayoutVars>
          <dgm:hierBranch val="init"/>
        </dgm:presLayoutVars>
      </dgm:prSet>
      <dgm:spPr/>
    </dgm:pt>
    <dgm:pt modelId="{81E6054B-790D-4C44-8FD7-34D4BE71CA27}" type="pres">
      <dgm:prSet presAssocID="{761A1E22-8C8A-4152-B1C8-4F9F35F000B9}" presName="rootComposite" presStyleCnt="0"/>
      <dgm:spPr/>
    </dgm:pt>
    <dgm:pt modelId="{71B521A9-878F-41A1-8364-290A0A9B4615}" type="pres">
      <dgm:prSet presAssocID="{761A1E22-8C8A-4152-B1C8-4F9F35F000B9}" presName="rootText" presStyleLbl="node4" presStyleIdx="12" presStyleCnt="19" custLinFactNeighborY="-7280">
        <dgm:presLayoutVars>
          <dgm:chPref val="3"/>
        </dgm:presLayoutVars>
      </dgm:prSet>
      <dgm:spPr/>
    </dgm:pt>
    <dgm:pt modelId="{17B00065-1171-40DE-9B0F-689010D7168B}" type="pres">
      <dgm:prSet presAssocID="{761A1E22-8C8A-4152-B1C8-4F9F35F000B9}" presName="rootConnector" presStyleLbl="node4" presStyleIdx="12" presStyleCnt="19"/>
      <dgm:spPr/>
    </dgm:pt>
    <dgm:pt modelId="{404F5DF8-41AD-4139-99FE-8574824C2CB3}" type="pres">
      <dgm:prSet presAssocID="{761A1E22-8C8A-4152-B1C8-4F9F35F000B9}" presName="hierChild4" presStyleCnt="0"/>
      <dgm:spPr/>
    </dgm:pt>
    <dgm:pt modelId="{6470222A-F503-4C23-9548-A2136684682A}" type="pres">
      <dgm:prSet presAssocID="{761A1E22-8C8A-4152-B1C8-4F9F35F000B9}" presName="hierChild5" presStyleCnt="0"/>
      <dgm:spPr/>
    </dgm:pt>
    <dgm:pt modelId="{609D9515-FD68-488F-BAB0-2D65B595BA72}" type="pres">
      <dgm:prSet presAssocID="{0CF47565-496B-452B-A332-F8123452058B}" presName="Name37" presStyleLbl="parChTrans1D4" presStyleIdx="13" presStyleCnt="19"/>
      <dgm:spPr/>
    </dgm:pt>
    <dgm:pt modelId="{98C5906E-33D2-46DE-9D4E-97B6C073748D}" type="pres">
      <dgm:prSet presAssocID="{25EF0883-7505-481B-9361-6A17544145A1}" presName="hierRoot2" presStyleCnt="0">
        <dgm:presLayoutVars>
          <dgm:hierBranch val="init"/>
        </dgm:presLayoutVars>
      </dgm:prSet>
      <dgm:spPr/>
    </dgm:pt>
    <dgm:pt modelId="{BEA75AD3-7E2F-4F0F-B610-5F51985F5B4D}" type="pres">
      <dgm:prSet presAssocID="{25EF0883-7505-481B-9361-6A17544145A1}" presName="rootComposite" presStyleCnt="0"/>
      <dgm:spPr/>
    </dgm:pt>
    <dgm:pt modelId="{FB709349-E6D3-41D4-81B7-0F67304A6EFE}" type="pres">
      <dgm:prSet presAssocID="{25EF0883-7505-481B-9361-6A17544145A1}" presName="rootText" presStyleLbl="node4" presStyleIdx="13" presStyleCnt="19" custLinFactNeighborY="-7280">
        <dgm:presLayoutVars>
          <dgm:chPref val="3"/>
        </dgm:presLayoutVars>
      </dgm:prSet>
      <dgm:spPr/>
    </dgm:pt>
    <dgm:pt modelId="{790C1FBB-4319-4B98-A874-713788B861D2}" type="pres">
      <dgm:prSet presAssocID="{25EF0883-7505-481B-9361-6A17544145A1}" presName="rootConnector" presStyleLbl="node4" presStyleIdx="13" presStyleCnt="19"/>
      <dgm:spPr/>
    </dgm:pt>
    <dgm:pt modelId="{5647D0D9-2DCD-45ED-9A48-FD61173D6EB6}" type="pres">
      <dgm:prSet presAssocID="{25EF0883-7505-481B-9361-6A17544145A1}" presName="hierChild4" presStyleCnt="0"/>
      <dgm:spPr/>
    </dgm:pt>
    <dgm:pt modelId="{12F11F38-F95D-4B7E-BBAA-E023980C9456}" type="pres">
      <dgm:prSet presAssocID="{25EF0883-7505-481B-9361-6A17544145A1}" presName="hierChild5" presStyleCnt="0"/>
      <dgm:spPr/>
    </dgm:pt>
    <dgm:pt modelId="{CB2A7D91-AEA7-4DBA-86ED-7C04CF0853E4}" type="pres">
      <dgm:prSet presAssocID="{3A71DE44-A883-452F-BD5C-5C1232AFF38F}" presName="Name37" presStyleLbl="parChTrans1D4" presStyleIdx="14" presStyleCnt="19"/>
      <dgm:spPr/>
    </dgm:pt>
    <dgm:pt modelId="{194B7055-162D-4894-BCA3-85D7093BB6A5}" type="pres">
      <dgm:prSet presAssocID="{A7195517-ECE8-4D75-B284-DD7FC3A1C483}" presName="hierRoot2" presStyleCnt="0">
        <dgm:presLayoutVars>
          <dgm:hierBranch val="init"/>
        </dgm:presLayoutVars>
      </dgm:prSet>
      <dgm:spPr/>
    </dgm:pt>
    <dgm:pt modelId="{F6E77B86-AA89-46C4-B178-D940D581777E}" type="pres">
      <dgm:prSet presAssocID="{A7195517-ECE8-4D75-B284-DD7FC3A1C483}" presName="rootComposite" presStyleCnt="0"/>
      <dgm:spPr/>
    </dgm:pt>
    <dgm:pt modelId="{A588C842-F20A-4AA8-85DA-6ACC4DA2A93E}" type="pres">
      <dgm:prSet presAssocID="{A7195517-ECE8-4D75-B284-DD7FC3A1C483}" presName="rootText" presStyleLbl="node4" presStyleIdx="14" presStyleCnt="19" custLinFactNeighborY="-7280">
        <dgm:presLayoutVars>
          <dgm:chPref val="3"/>
        </dgm:presLayoutVars>
      </dgm:prSet>
      <dgm:spPr/>
    </dgm:pt>
    <dgm:pt modelId="{FA714205-4B82-446D-B68E-7F652DFBEEDA}" type="pres">
      <dgm:prSet presAssocID="{A7195517-ECE8-4D75-B284-DD7FC3A1C483}" presName="rootConnector" presStyleLbl="node4" presStyleIdx="14" presStyleCnt="19"/>
      <dgm:spPr/>
    </dgm:pt>
    <dgm:pt modelId="{254E1AFD-68D8-4CBA-BAAB-6F6D0100BF33}" type="pres">
      <dgm:prSet presAssocID="{A7195517-ECE8-4D75-B284-DD7FC3A1C483}" presName="hierChild4" presStyleCnt="0"/>
      <dgm:spPr/>
    </dgm:pt>
    <dgm:pt modelId="{CFC8C733-7AB4-49EB-BB58-6B6F51F07E9E}" type="pres">
      <dgm:prSet presAssocID="{A7195517-ECE8-4D75-B284-DD7FC3A1C483}" presName="hierChild5" presStyleCnt="0"/>
      <dgm:spPr/>
    </dgm:pt>
    <dgm:pt modelId="{B3E393F5-FE99-47D6-B42A-2E679DAAB0C6}" type="pres">
      <dgm:prSet presAssocID="{CEFE54B5-1BF0-40D8-A238-41A7896496D8}" presName="hierChild5" presStyleCnt="0"/>
      <dgm:spPr/>
    </dgm:pt>
    <dgm:pt modelId="{CFA625AD-9497-48AF-9C6C-5957C633070F}" type="pres">
      <dgm:prSet presAssocID="{07113328-4499-450A-BD57-0C9620EB93F0}" presName="Name37" presStyleLbl="parChTrans1D3" presStyleIdx="5" presStyleCnt="6"/>
      <dgm:spPr/>
    </dgm:pt>
    <dgm:pt modelId="{8C753FFB-9089-4CFE-B9BC-64EB0D9BBF3C}" type="pres">
      <dgm:prSet presAssocID="{BCF27CF9-0ED4-4612-94D1-DC1E000F8967}" presName="hierRoot2" presStyleCnt="0">
        <dgm:presLayoutVars>
          <dgm:hierBranch val="init"/>
        </dgm:presLayoutVars>
      </dgm:prSet>
      <dgm:spPr/>
    </dgm:pt>
    <dgm:pt modelId="{F4E836A5-8064-46CB-AF76-DCDACFBED23E}" type="pres">
      <dgm:prSet presAssocID="{BCF27CF9-0ED4-4612-94D1-DC1E000F8967}" presName="rootComposite" presStyleCnt="0"/>
      <dgm:spPr/>
    </dgm:pt>
    <dgm:pt modelId="{E46FED4D-3C12-4A9A-8E18-C8A5D62B5747}" type="pres">
      <dgm:prSet presAssocID="{BCF27CF9-0ED4-4612-94D1-DC1E000F8967}" presName="rootText" presStyleLbl="node3" presStyleIdx="5" presStyleCnt="6">
        <dgm:presLayoutVars>
          <dgm:chPref val="3"/>
        </dgm:presLayoutVars>
      </dgm:prSet>
      <dgm:spPr/>
    </dgm:pt>
    <dgm:pt modelId="{752354B9-535E-4F50-8E38-3DC6C7A96331}" type="pres">
      <dgm:prSet presAssocID="{BCF27CF9-0ED4-4612-94D1-DC1E000F8967}" presName="rootConnector" presStyleLbl="node3" presStyleIdx="5" presStyleCnt="6"/>
      <dgm:spPr/>
    </dgm:pt>
    <dgm:pt modelId="{9E9C241D-4509-4336-9D87-17E8349BFD3D}" type="pres">
      <dgm:prSet presAssocID="{BCF27CF9-0ED4-4612-94D1-DC1E000F8967}" presName="hierChild4" presStyleCnt="0"/>
      <dgm:spPr/>
    </dgm:pt>
    <dgm:pt modelId="{FBFD23C5-1602-4A2F-AD09-F68FE1E1AEEE}" type="pres">
      <dgm:prSet presAssocID="{0A82C860-67E9-4924-9DCF-FC0CBD8C5010}" presName="Name37" presStyleLbl="parChTrans1D4" presStyleIdx="15" presStyleCnt="19"/>
      <dgm:spPr/>
    </dgm:pt>
    <dgm:pt modelId="{F07F6452-B2BC-410B-8B64-CD15C5F817A3}" type="pres">
      <dgm:prSet presAssocID="{5EEA353E-AFC6-4F20-8D77-AD8593576011}" presName="hierRoot2" presStyleCnt="0">
        <dgm:presLayoutVars>
          <dgm:hierBranch val="init"/>
        </dgm:presLayoutVars>
      </dgm:prSet>
      <dgm:spPr/>
    </dgm:pt>
    <dgm:pt modelId="{B13BAC62-D2A4-4E47-837E-0012EA7255A2}" type="pres">
      <dgm:prSet presAssocID="{5EEA353E-AFC6-4F20-8D77-AD8593576011}" presName="rootComposite" presStyleCnt="0"/>
      <dgm:spPr/>
    </dgm:pt>
    <dgm:pt modelId="{10893535-E133-4731-B500-FBF09351815B}" type="pres">
      <dgm:prSet presAssocID="{5EEA353E-AFC6-4F20-8D77-AD8593576011}" presName="rootText" presStyleLbl="node4" presStyleIdx="15" presStyleCnt="19">
        <dgm:presLayoutVars>
          <dgm:chPref val="3"/>
        </dgm:presLayoutVars>
      </dgm:prSet>
      <dgm:spPr/>
    </dgm:pt>
    <dgm:pt modelId="{02FD715C-0AB6-451C-8869-4951DD781340}" type="pres">
      <dgm:prSet presAssocID="{5EEA353E-AFC6-4F20-8D77-AD8593576011}" presName="rootConnector" presStyleLbl="node4" presStyleIdx="15" presStyleCnt="19"/>
      <dgm:spPr/>
    </dgm:pt>
    <dgm:pt modelId="{29BD2C48-5DD0-4DA0-8A01-DEFBFD05A0DC}" type="pres">
      <dgm:prSet presAssocID="{5EEA353E-AFC6-4F20-8D77-AD8593576011}" presName="hierChild4" presStyleCnt="0"/>
      <dgm:spPr/>
    </dgm:pt>
    <dgm:pt modelId="{5E1CB73C-B68D-44C0-8942-A3C1E8734B65}" type="pres">
      <dgm:prSet presAssocID="{5EEA353E-AFC6-4F20-8D77-AD8593576011}" presName="hierChild5" presStyleCnt="0"/>
      <dgm:spPr/>
    </dgm:pt>
    <dgm:pt modelId="{88564183-0CC7-4C92-BE75-FB1FDE2DB88B}" type="pres">
      <dgm:prSet presAssocID="{CDC32E48-8470-4047-9C56-5574FF1AE61B}" presName="Name37" presStyleLbl="parChTrans1D4" presStyleIdx="16" presStyleCnt="19"/>
      <dgm:spPr/>
    </dgm:pt>
    <dgm:pt modelId="{B6322A0D-4E89-45E2-A6BE-BD8E4882D23F}" type="pres">
      <dgm:prSet presAssocID="{13E6143E-3AE3-4A1E-A16D-C96A8323BDC6}" presName="hierRoot2" presStyleCnt="0">
        <dgm:presLayoutVars>
          <dgm:hierBranch val="init"/>
        </dgm:presLayoutVars>
      </dgm:prSet>
      <dgm:spPr/>
    </dgm:pt>
    <dgm:pt modelId="{12897839-7BAC-4605-9AAA-19E700A97FE0}" type="pres">
      <dgm:prSet presAssocID="{13E6143E-3AE3-4A1E-A16D-C96A8323BDC6}" presName="rootComposite" presStyleCnt="0"/>
      <dgm:spPr/>
    </dgm:pt>
    <dgm:pt modelId="{CD140378-386D-4430-9B29-B12CE2D6642D}" type="pres">
      <dgm:prSet presAssocID="{13E6143E-3AE3-4A1E-A16D-C96A8323BDC6}" presName="rootText" presStyleLbl="node4" presStyleIdx="16" presStyleCnt="19">
        <dgm:presLayoutVars>
          <dgm:chPref val="3"/>
        </dgm:presLayoutVars>
      </dgm:prSet>
      <dgm:spPr/>
    </dgm:pt>
    <dgm:pt modelId="{9922B4C0-BC02-4390-A8A7-3FC24BEE6EB1}" type="pres">
      <dgm:prSet presAssocID="{13E6143E-3AE3-4A1E-A16D-C96A8323BDC6}" presName="rootConnector" presStyleLbl="node4" presStyleIdx="16" presStyleCnt="19"/>
      <dgm:spPr/>
    </dgm:pt>
    <dgm:pt modelId="{2B626E0D-4038-4F9C-B0CF-E811F620E6A5}" type="pres">
      <dgm:prSet presAssocID="{13E6143E-3AE3-4A1E-A16D-C96A8323BDC6}" presName="hierChild4" presStyleCnt="0"/>
      <dgm:spPr/>
    </dgm:pt>
    <dgm:pt modelId="{B0188713-7CA8-4818-AB97-7C0B2D09FF2D}" type="pres">
      <dgm:prSet presAssocID="{13E6143E-3AE3-4A1E-A16D-C96A8323BDC6}" presName="hierChild5" presStyleCnt="0"/>
      <dgm:spPr/>
    </dgm:pt>
    <dgm:pt modelId="{61797818-CEEC-4010-8640-642C09CE825D}" type="pres">
      <dgm:prSet presAssocID="{EDDC8BBC-3074-4EF4-B00B-26662A4D0006}" presName="Name37" presStyleLbl="parChTrans1D4" presStyleIdx="17" presStyleCnt="19"/>
      <dgm:spPr/>
    </dgm:pt>
    <dgm:pt modelId="{6052B995-86E7-417F-98C4-842F053A3C66}" type="pres">
      <dgm:prSet presAssocID="{BEC94471-A240-436D-A246-F2E4CBD2830E}" presName="hierRoot2" presStyleCnt="0">
        <dgm:presLayoutVars>
          <dgm:hierBranch val="init"/>
        </dgm:presLayoutVars>
      </dgm:prSet>
      <dgm:spPr/>
    </dgm:pt>
    <dgm:pt modelId="{2542807D-F24E-4088-851A-73705021F92E}" type="pres">
      <dgm:prSet presAssocID="{BEC94471-A240-436D-A246-F2E4CBD2830E}" presName="rootComposite" presStyleCnt="0"/>
      <dgm:spPr/>
    </dgm:pt>
    <dgm:pt modelId="{4E3B5942-48DC-4E61-A9E8-CBF6E9B1B977}" type="pres">
      <dgm:prSet presAssocID="{BEC94471-A240-436D-A246-F2E4CBD2830E}" presName="rootText" presStyleLbl="node4" presStyleIdx="17" presStyleCnt="19">
        <dgm:presLayoutVars>
          <dgm:chPref val="3"/>
        </dgm:presLayoutVars>
      </dgm:prSet>
      <dgm:spPr/>
    </dgm:pt>
    <dgm:pt modelId="{D1C6E5F2-957F-4A86-84F2-A5705BB91D62}" type="pres">
      <dgm:prSet presAssocID="{BEC94471-A240-436D-A246-F2E4CBD2830E}" presName="rootConnector" presStyleLbl="node4" presStyleIdx="17" presStyleCnt="19"/>
      <dgm:spPr/>
    </dgm:pt>
    <dgm:pt modelId="{1986724B-73DA-4153-AF4E-21046FE12271}" type="pres">
      <dgm:prSet presAssocID="{BEC94471-A240-436D-A246-F2E4CBD2830E}" presName="hierChild4" presStyleCnt="0"/>
      <dgm:spPr/>
    </dgm:pt>
    <dgm:pt modelId="{E54F4674-BDA0-4A27-9A2F-2327E8FB5042}" type="pres">
      <dgm:prSet presAssocID="{BEC94471-A240-436D-A246-F2E4CBD2830E}" presName="hierChild5" presStyleCnt="0"/>
      <dgm:spPr/>
    </dgm:pt>
    <dgm:pt modelId="{E5E98410-234D-44E6-98BF-7874D840463A}" type="pres">
      <dgm:prSet presAssocID="{F7DB04EC-4168-4743-9845-F6C1C690AAAC}" presName="Name37" presStyleLbl="parChTrans1D4" presStyleIdx="18" presStyleCnt="19"/>
      <dgm:spPr/>
    </dgm:pt>
    <dgm:pt modelId="{72B8C88F-27F8-4D35-A29D-6A25DC1FD0BA}" type="pres">
      <dgm:prSet presAssocID="{2AB31F72-6288-44D2-8072-2F3E8CA5E8E6}" presName="hierRoot2" presStyleCnt="0">
        <dgm:presLayoutVars>
          <dgm:hierBranch val="init"/>
        </dgm:presLayoutVars>
      </dgm:prSet>
      <dgm:spPr/>
    </dgm:pt>
    <dgm:pt modelId="{0D0ACDCE-850F-479A-A565-85F4BF3BDFF9}" type="pres">
      <dgm:prSet presAssocID="{2AB31F72-6288-44D2-8072-2F3E8CA5E8E6}" presName="rootComposite" presStyleCnt="0"/>
      <dgm:spPr/>
    </dgm:pt>
    <dgm:pt modelId="{1C01B158-6877-41F6-B07E-1C9B8910083F}" type="pres">
      <dgm:prSet presAssocID="{2AB31F72-6288-44D2-8072-2F3E8CA5E8E6}" presName="rootText" presStyleLbl="node4" presStyleIdx="18" presStyleCnt="19" custLinFactNeighborY="-7280">
        <dgm:presLayoutVars>
          <dgm:chPref val="3"/>
        </dgm:presLayoutVars>
      </dgm:prSet>
      <dgm:spPr/>
    </dgm:pt>
    <dgm:pt modelId="{557C00F6-D5CE-41A2-9D30-B1571F02F3F3}" type="pres">
      <dgm:prSet presAssocID="{2AB31F72-6288-44D2-8072-2F3E8CA5E8E6}" presName="rootConnector" presStyleLbl="node4" presStyleIdx="18" presStyleCnt="19"/>
      <dgm:spPr/>
    </dgm:pt>
    <dgm:pt modelId="{4D237B38-E05F-4F82-9D23-0DC80F257684}" type="pres">
      <dgm:prSet presAssocID="{2AB31F72-6288-44D2-8072-2F3E8CA5E8E6}" presName="hierChild4" presStyleCnt="0"/>
      <dgm:spPr/>
    </dgm:pt>
    <dgm:pt modelId="{B85E4D0E-C449-443B-BDCC-FF6086E043F4}" type="pres">
      <dgm:prSet presAssocID="{2AB31F72-6288-44D2-8072-2F3E8CA5E8E6}" presName="hierChild5" presStyleCnt="0"/>
      <dgm:spPr/>
    </dgm:pt>
    <dgm:pt modelId="{CE111412-AA04-4C59-B715-95C717FC88B5}" type="pres">
      <dgm:prSet presAssocID="{BCF27CF9-0ED4-4612-94D1-DC1E000F8967}" presName="hierChild5" presStyleCnt="0"/>
      <dgm:spPr/>
    </dgm:pt>
    <dgm:pt modelId="{FBA31FB0-49C3-486D-B41C-E9FC4CF6FA16}" type="pres">
      <dgm:prSet presAssocID="{54888C6A-2E62-42EC-ABE3-0DF87A629214}" presName="hierChild5" presStyleCnt="0"/>
      <dgm:spPr/>
    </dgm:pt>
    <dgm:pt modelId="{8A30CBEF-0C71-42E7-9585-C38820539221}" type="pres">
      <dgm:prSet presAssocID="{9DD3DEE3-462A-4261-B59D-56285E5D9CB7}" presName="hierChild3" presStyleCnt="0"/>
      <dgm:spPr/>
    </dgm:pt>
    <dgm:pt modelId="{5C6D68FB-70A8-45BA-B78F-9E58FDC420DB}" type="pres">
      <dgm:prSet presAssocID="{EE21B19B-79F6-4D43-9A5B-C3CB30C837EB}" presName="Name111" presStyleLbl="parChTrans1D2" presStyleIdx="2" presStyleCnt="3"/>
      <dgm:spPr/>
    </dgm:pt>
    <dgm:pt modelId="{4D842C40-CA66-4BDB-87C5-C16309676D20}" type="pres">
      <dgm:prSet presAssocID="{6E006925-3003-4720-8633-AD5D2DB96A2A}" presName="hierRoot3" presStyleCnt="0">
        <dgm:presLayoutVars>
          <dgm:hierBranch val="init"/>
        </dgm:presLayoutVars>
      </dgm:prSet>
      <dgm:spPr/>
    </dgm:pt>
    <dgm:pt modelId="{F7B9DB1E-F97E-4731-98EE-A21955245CBA}" type="pres">
      <dgm:prSet presAssocID="{6E006925-3003-4720-8633-AD5D2DB96A2A}" presName="rootComposite3" presStyleCnt="0"/>
      <dgm:spPr/>
    </dgm:pt>
    <dgm:pt modelId="{5382A9A8-49AE-4BE7-9E65-440A0FF06898}" type="pres">
      <dgm:prSet presAssocID="{6E006925-3003-4720-8633-AD5D2DB96A2A}" presName="rootText3" presStyleLbl="asst1" presStyleIdx="0" presStyleCnt="1">
        <dgm:presLayoutVars>
          <dgm:chPref val="3"/>
        </dgm:presLayoutVars>
      </dgm:prSet>
      <dgm:spPr/>
    </dgm:pt>
    <dgm:pt modelId="{834F9622-21F0-4ECB-9E40-25FD850DEA55}" type="pres">
      <dgm:prSet presAssocID="{6E006925-3003-4720-8633-AD5D2DB96A2A}" presName="rootConnector3" presStyleLbl="asst1" presStyleIdx="0" presStyleCnt="1"/>
      <dgm:spPr/>
    </dgm:pt>
    <dgm:pt modelId="{37D67402-E3CF-4BFF-87E3-746076AAB5D2}" type="pres">
      <dgm:prSet presAssocID="{6E006925-3003-4720-8633-AD5D2DB96A2A}" presName="hierChild6" presStyleCnt="0"/>
      <dgm:spPr/>
    </dgm:pt>
    <dgm:pt modelId="{3011ACFD-822A-4B85-A130-421CE1C3B9F4}" type="pres">
      <dgm:prSet presAssocID="{6E006925-3003-4720-8633-AD5D2DB96A2A}" presName="hierChild7" presStyleCnt="0"/>
      <dgm:spPr/>
    </dgm:pt>
  </dgm:ptLst>
  <dgm:cxnLst>
    <dgm:cxn modelId="{BC74B000-D274-4E0D-B66A-88AD5A72D487}" type="presOf" srcId="{03D29BEB-8C5A-4A99-8BC3-76E4815FCD31}" destId="{4617481A-8433-4D8A-9D92-8280515D5E7A}" srcOrd="0" destOrd="0" presId="urn:microsoft.com/office/officeart/2005/8/layout/orgChart1"/>
    <dgm:cxn modelId="{B8CB8401-1370-4390-8E1A-414269CECE53}" srcId="{9DD3DEE3-462A-4261-B59D-56285E5D9CB7}" destId="{E7F791D8-DB8B-4941-8E11-8F020F632050}" srcOrd="1" destOrd="0" parTransId="{85E4676F-DFDF-4B20-B1C3-60B5AF43D2D4}" sibTransId="{77A6B923-6F69-4B1D-A772-95BD5AFF3497}"/>
    <dgm:cxn modelId="{97850902-CA9D-4BAC-BD1C-DA6DC715399D}" type="presOf" srcId="{D0BD1B9D-6FCD-4A08-9C31-03A5F2B41B4F}" destId="{8DF8AE0C-89AC-401A-8557-0836A5A82525}" srcOrd="1" destOrd="0" presId="urn:microsoft.com/office/officeart/2005/8/layout/orgChart1"/>
    <dgm:cxn modelId="{6ACB7802-DE7A-420D-89F9-09BE6054F457}" type="presOf" srcId="{761A1E22-8C8A-4152-B1C8-4F9F35F000B9}" destId="{17B00065-1171-40DE-9B0F-689010D7168B}" srcOrd="1" destOrd="0" presId="urn:microsoft.com/office/officeart/2005/8/layout/orgChart1"/>
    <dgm:cxn modelId="{950D4707-8F07-4057-8884-798B5FA2BAE8}" type="presOf" srcId="{7C6CCB63-A967-4C87-94BE-1382925217CD}" destId="{95308955-17D6-43F3-99DD-85B0F457CC6A}" srcOrd="0" destOrd="0" presId="urn:microsoft.com/office/officeart/2005/8/layout/orgChart1"/>
    <dgm:cxn modelId="{D8B8A409-8ED0-494D-8A21-8E5A5EB17C3F}" type="presOf" srcId="{EF832AFC-3F8E-4FC2-A2C2-34B65B63776D}" destId="{1D702F36-EFBC-4D33-AFBB-22A512C7F89A}" srcOrd="0" destOrd="0" presId="urn:microsoft.com/office/officeart/2005/8/layout/orgChart1"/>
    <dgm:cxn modelId="{81F1A50A-019A-43C5-BC3F-5842E733A418}" type="presOf" srcId="{FC5B815B-FF58-4D5A-AAF8-9B53BC2C56D1}" destId="{9DFDC392-D7E9-4EFA-91C1-637CE0F3CB14}" srcOrd="0" destOrd="0" presId="urn:microsoft.com/office/officeart/2005/8/layout/orgChart1"/>
    <dgm:cxn modelId="{BF38D40B-FDAD-4FC2-94EA-46B5909F3557}" srcId="{DBDCEDFB-608B-4A42-8D1C-E32FF44E1AA3}" destId="{D3EAEA6F-8226-4F40-AAE6-0C94EE3EF556}" srcOrd="5" destOrd="0" parTransId="{CF2BD7BF-C222-47C6-8576-73591C998929}" sibTransId="{BA69229E-37FD-4EF1-9B9A-53193E80AC24}"/>
    <dgm:cxn modelId="{C26A1C10-6734-4D51-8250-95D2086E8F98}" srcId="{BCF27CF9-0ED4-4612-94D1-DC1E000F8967}" destId="{5EEA353E-AFC6-4F20-8D77-AD8593576011}" srcOrd="0" destOrd="0" parTransId="{0A82C860-67E9-4924-9DCF-FC0CBD8C5010}" sibTransId="{76204006-F138-4849-BD32-33E51A67180B}"/>
    <dgm:cxn modelId="{44C9C710-4015-4401-A37B-EA3DCDFEDCEF}" srcId="{DBDCEDFB-608B-4A42-8D1C-E32FF44E1AA3}" destId="{D0BD1B9D-6FCD-4A08-9C31-03A5F2B41B4F}" srcOrd="4" destOrd="0" parTransId="{3420DA78-1189-4823-8264-4E3D7CD5A180}" sibTransId="{DF32E5FC-3ECD-4002-82D6-521EBF941CB5}"/>
    <dgm:cxn modelId="{4F197A11-94DF-4CBF-908A-E5BC9DE49FD7}" type="presOf" srcId="{2AB31F72-6288-44D2-8072-2F3E8CA5E8E6}" destId="{557C00F6-D5CE-41A2-9D30-B1571F02F3F3}" srcOrd="1" destOrd="0" presId="urn:microsoft.com/office/officeart/2005/8/layout/orgChart1"/>
    <dgm:cxn modelId="{710E3812-EE14-4A27-AAE8-395153F48113}" type="presOf" srcId="{6E006925-3003-4720-8633-AD5D2DB96A2A}" destId="{5382A9A8-49AE-4BE7-9E65-440A0FF06898}" srcOrd="0" destOrd="0" presId="urn:microsoft.com/office/officeart/2005/8/layout/orgChart1"/>
    <dgm:cxn modelId="{C1408012-C21A-4D4F-993D-9BC46D1F7099}" srcId="{BCF27CF9-0ED4-4612-94D1-DC1E000F8967}" destId="{BEC94471-A240-436D-A246-F2E4CBD2830E}" srcOrd="2" destOrd="0" parTransId="{EDDC8BBC-3074-4EF4-B00B-26662A4D0006}" sibTransId="{D1AF9D87-F41C-4F02-8D79-59C384796391}"/>
    <dgm:cxn modelId="{DD581313-0D5F-4F3B-9045-292315F63982}" type="presOf" srcId="{A49BBB18-A6FD-44E5-A65B-0C9981C38114}" destId="{EA703891-59A3-4402-9351-61C8ECB0EE88}" srcOrd="0" destOrd="0" presId="urn:microsoft.com/office/officeart/2005/8/layout/orgChart1"/>
    <dgm:cxn modelId="{2A8AC615-D51C-4CB6-88FE-E4844FD1273B}" type="presOf" srcId="{5EEA353E-AFC6-4F20-8D77-AD8593576011}" destId="{02FD715C-0AB6-451C-8869-4951DD781340}" srcOrd="1" destOrd="0" presId="urn:microsoft.com/office/officeart/2005/8/layout/orgChart1"/>
    <dgm:cxn modelId="{4730BC16-30C4-4324-9FF6-0304955A3366}" type="presOf" srcId="{62D16580-86F9-40F0-867C-B38652B85398}" destId="{983796B0-4E24-4037-A756-23DAC096EEDD}" srcOrd="0" destOrd="0" presId="urn:microsoft.com/office/officeart/2005/8/layout/orgChart1"/>
    <dgm:cxn modelId="{F1468817-1181-4E22-943E-9E4C3B1638D7}" type="presOf" srcId="{4D793E25-9924-492C-B00A-32F155E6050A}" destId="{D8FC26CB-72A7-4E2F-A201-F28F11841DA8}" srcOrd="1" destOrd="0" presId="urn:microsoft.com/office/officeart/2005/8/layout/orgChart1"/>
    <dgm:cxn modelId="{46049317-C210-4D67-91AA-75C8E29FD97A}" type="presOf" srcId="{A7195517-ECE8-4D75-B284-DD7FC3A1C483}" destId="{A588C842-F20A-4AA8-85DA-6ACC4DA2A93E}" srcOrd="0" destOrd="0" presId="urn:microsoft.com/office/officeart/2005/8/layout/orgChart1"/>
    <dgm:cxn modelId="{2B81C21F-98EA-4E56-BA6C-84166497D85B}" srcId="{EF832AFC-3F8E-4FC2-A2C2-34B65B63776D}" destId="{9DD3DEE3-462A-4261-B59D-56285E5D9CB7}" srcOrd="0" destOrd="0" parTransId="{45007A1E-6D95-43E6-83CD-DA66E5045954}" sibTransId="{50474473-895E-4FD3-B3E0-778369D9D044}"/>
    <dgm:cxn modelId="{95AB7A20-84EC-4053-B450-68AAEA6B8D57}" type="presOf" srcId="{6FDAC7CE-C7EF-40C3-B712-A3202A457CEF}" destId="{9438E796-ECFF-45AF-BDAD-F51F38B80D1A}" srcOrd="1" destOrd="0" presId="urn:microsoft.com/office/officeart/2005/8/layout/orgChart1"/>
    <dgm:cxn modelId="{2A5EE920-2EA3-4691-920B-773EA19FBEB6}" type="presOf" srcId="{3A71DE44-A883-452F-BD5C-5C1232AFF38F}" destId="{CB2A7D91-AEA7-4DBA-86ED-7C04CF0853E4}" srcOrd="0" destOrd="0" presId="urn:microsoft.com/office/officeart/2005/8/layout/orgChart1"/>
    <dgm:cxn modelId="{87B2A322-9F6A-4625-AB36-A47F95D21465}" type="presOf" srcId="{E557E23E-C3E6-42E2-868F-877B1D8E73CB}" destId="{D0C06A9D-9519-414B-BFF8-974E13F78F47}" srcOrd="0" destOrd="0" presId="urn:microsoft.com/office/officeart/2005/8/layout/orgChart1"/>
    <dgm:cxn modelId="{2EEFF623-910D-499E-9B25-F0BF26AC02C9}" type="presOf" srcId="{EE21B19B-79F6-4D43-9A5B-C3CB30C837EB}" destId="{5C6D68FB-70A8-45BA-B78F-9E58FDC420DB}" srcOrd="0" destOrd="0" presId="urn:microsoft.com/office/officeart/2005/8/layout/orgChart1"/>
    <dgm:cxn modelId="{25E72224-7A7F-496E-966B-6F89D4727201}" srcId="{DBDCEDFB-608B-4A42-8D1C-E32FF44E1AA3}" destId="{4C4BD85B-0727-42BB-9783-8216A795E60F}" srcOrd="1" destOrd="0" parTransId="{0C92A346-77A6-40EF-901B-1E483C88E84C}" sibTransId="{7A8C9B87-E18B-4B4C-B0D5-A7ED305525E9}"/>
    <dgm:cxn modelId="{6B86B125-A237-4007-A4BC-E6257229A666}" type="presOf" srcId="{13E6143E-3AE3-4A1E-A16D-C96A8323BDC6}" destId="{9922B4C0-BC02-4390-A8A7-3FC24BEE6EB1}" srcOrd="1" destOrd="0" presId="urn:microsoft.com/office/officeart/2005/8/layout/orgChart1"/>
    <dgm:cxn modelId="{13D53528-868C-458F-8272-F950F1B1796C}" type="presOf" srcId="{85E4676F-DFDF-4B20-B1C3-60B5AF43D2D4}" destId="{2551C1A7-DE50-4108-9266-6F69CB481F73}" srcOrd="0" destOrd="0" presId="urn:microsoft.com/office/officeart/2005/8/layout/orgChart1"/>
    <dgm:cxn modelId="{9FF64B29-36ED-4CF2-B4A9-F9BFB4B9789F}" type="presOf" srcId="{F7DB04EC-4168-4743-9845-F6C1C690AAAC}" destId="{E5E98410-234D-44E6-98BF-7874D840463A}" srcOrd="0" destOrd="0" presId="urn:microsoft.com/office/officeart/2005/8/layout/orgChart1"/>
    <dgm:cxn modelId="{6C4EF12E-F34F-4659-AF79-81AC33BAE27B}" type="presOf" srcId="{EDDC8BBC-3074-4EF4-B00B-26662A4D0006}" destId="{61797818-CEEC-4010-8640-642C09CE825D}" srcOrd="0" destOrd="0" presId="urn:microsoft.com/office/officeart/2005/8/layout/orgChart1"/>
    <dgm:cxn modelId="{DBF8EB33-0156-45D4-9990-076A6E4D55B5}" type="presOf" srcId="{1C9732A4-6FF4-40D6-8D61-7C8DB349EAC3}" destId="{626D83D9-7DC2-49A7-9CAE-3B1BAE9F1C8F}" srcOrd="1" destOrd="0" presId="urn:microsoft.com/office/officeart/2005/8/layout/orgChart1"/>
    <dgm:cxn modelId="{20816C35-90E4-4077-8632-3083551AF231}" type="presOf" srcId="{D96AFAE7-FE68-40D8-82B7-449AF30CCC2B}" destId="{F6798CCF-28BC-4A27-B715-F4CC0F797FAF}" srcOrd="0" destOrd="0" presId="urn:microsoft.com/office/officeart/2005/8/layout/orgChart1"/>
    <dgm:cxn modelId="{00303838-8109-4839-8FD9-5BC865CECE0F}" type="presOf" srcId="{0A82C860-67E9-4924-9DCF-FC0CBD8C5010}" destId="{FBFD23C5-1602-4A2F-AD09-F68FE1E1AEEE}" srcOrd="0" destOrd="0" presId="urn:microsoft.com/office/officeart/2005/8/layout/orgChart1"/>
    <dgm:cxn modelId="{A28C5038-0198-491B-9C98-F51838CC460A}" type="presOf" srcId="{4D793E25-9924-492C-B00A-32F155E6050A}" destId="{EF7362E5-E6E8-41B8-BEAF-EEAD6195ADB6}" srcOrd="0" destOrd="0" presId="urn:microsoft.com/office/officeart/2005/8/layout/orgChart1"/>
    <dgm:cxn modelId="{5143843C-9C07-42FF-93C2-3D5F307492A3}" type="presOf" srcId="{D3EAEA6F-8226-4F40-AAE6-0C94EE3EF556}" destId="{5198AF0E-3D25-4505-8815-4D02133E968A}" srcOrd="0" destOrd="0" presId="urn:microsoft.com/office/officeart/2005/8/layout/orgChart1"/>
    <dgm:cxn modelId="{0B106C5F-42EB-4300-BDCD-60CD52F08392}" srcId="{DBDCEDFB-608B-4A42-8D1C-E32FF44E1AA3}" destId="{A49BBB18-A6FD-44E5-A65B-0C9981C38114}" srcOrd="3" destOrd="0" parTransId="{D96AFAE7-FE68-40D8-82B7-449AF30CCC2B}" sibTransId="{39E41F36-A5A1-4ABB-83DA-B42122E3B882}"/>
    <dgm:cxn modelId="{728CA861-A858-4B8A-9525-453B2C6DA13E}" type="presOf" srcId="{0CF47565-496B-452B-A332-F8123452058B}" destId="{609D9515-FD68-488F-BAB0-2D65B595BA72}" srcOrd="0" destOrd="0" presId="urn:microsoft.com/office/officeart/2005/8/layout/orgChart1"/>
    <dgm:cxn modelId="{28515B63-5635-4627-9D0B-2D90F99C4B2B}" type="presOf" srcId="{0D6DE103-5F19-4F21-AF6F-B55ED5F6FC89}" destId="{E5A21C22-57A1-4FF6-8FF7-2D27BC5935DC}" srcOrd="0" destOrd="0" presId="urn:microsoft.com/office/officeart/2005/8/layout/orgChart1"/>
    <dgm:cxn modelId="{C4165545-7353-41AE-AEAB-FD403078B19F}" type="presOf" srcId="{DBDCEDFB-608B-4A42-8D1C-E32FF44E1AA3}" destId="{3D20D6D5-CB2A-4FD8-8A02-4CBAE6D30986}" srcOrd="0" destOrd="0" presId="urn:microsoft.com/office/officeart/2005/8/layout/orgChart1"/>
    <dgm:cxn modelId="{D2041B46-0594-4628-ADAC-A1F758258B9F}" type="presOf" srcId="{CEFE54B5-1BF0-40D8-A238-41A7896496D8}" destId="{E180F611-3F02-473E-B8B3-2F7FCC74AF64}" srcOrd="0" destOrd="0" presId="urn:microsoft.com/office/officeart/2005/8/layout/orgChart1"/>
    <dgm:cxn modelId="{806C2B66-9102-49C7-95AB-2D763C378224}" type="presOf" srcId="{0C92A346-77A6-40EF-901B-1E483C88E84C}" destId="{4FB7D99D-33FC-40B1-B378-A6CD35922869}" srcOrd="0" destOrd="0" presId="urn:microsoft.com/office/officeart/2005/8/layout/orgChart1"/>
    <dgm:cxn modelId="{3CC73967-51C7-4796-A45B-DEFC9E040057}" type="presOf" srcId="{D3EAEA6F-8226-4F40-AAE6-0C94EE3EF556}" destId="{7D9A8CB1-0CBA-42F7-9C9F-8DF225EEF363}" srcOrd="1" destOrd="0" presId="urn:microsoft.com/office/officeart/2005/8/layout/orgChart1"/>
    <dgm:cxn modelId="{5F4F5848-CA66-4198-BFB3-A18515633384}" srcId="{E7F791D8-DB8B-4941-8E11-8F020F632050}" destId="{8C988897-87B7-4517-9047-DFA7A88C38ED}" srcOrd="1" destOrd="0" parTransId="{03D29BEB-8C5A-4A99-8BC3-76E4815FCD31}" sibTransId="{2436EC5A-ABCA-41EE-BECC-8BBE18E8256E}"/>
    <dgm:cxn modelId="{BBA31969-0DB4-4663-8F52-CB073C653E57}" srcId="{DBDCEDFB-608B-4A42-8D1C-E32FF44E1AA3}" destId="{36D2158B-93CC-43DE-AB88-9EFEF1C7063B}" srcOrd="2" destOrd="0" parTransId="{EE3A1FAB-7C4B-4877-92C0-F65374159DFF}" sibTransId="{463DF148-6072-4495-8955-D65D1677D418}"/>
    <dgm:cxn modelId="{37AA1A4A-5FBA-4AD6-B8D6-3988AA784F15}" type="presOf" srcId="{FAF273E8-FB9C-4474-92C9-A0CDE5FEDDC1}" destId="{5AC7132E-9C97-4821-9AB9-A1B5D43163E9}" srcOrd="0" destOrd="0" presId="urn:microsoft.com/office/officeart/2005/8/layout/orgChart1"/>
    <dgm:cxn modelId="{BE1B924B-0C7F-4620-8B51-F57172EA1806}" srcId="{8C988897-87B7-4517-9047-DFA7A88C38ED}" destId="{6FDAC7CE-C7EF-40C3-B712-A3202A457CEF}" srcOrd="0" destOrd="0" parTransId="{8987B43F-EE7D-4124-AB48-46F3316BE98E}" sibTransId="{645F58BC-DE26-4E21-BAF6-DA0D82F55B8A}"/>
    <dgm:cxn modelId="{7DC75F6D-295A-4097-A1C6-5B8832D8EAFD}" srcId="{54888C6A-2E62-42EC-ABE3-0DF87A629214}" destId="{0D6DE103-5F19-4F21-AF6F-B55ED5F6FC89}" srcOrd="0" destOrd="0" parTransId="{7C6CCB63-A967-4C87-94BE-1382925217CD}" sibTransId="{A3F2E28C-9962-4381-A7F3-AAA92F5EECE9}"/>
    <dgm:cxn modelId="{D98DDD4D-22D6-44CB-9E9A-5B99BAEFAAA9}" type="presOf" srcId="{54888C6A-2E62-42EC-ABE3-0DF87A629214}" destId="{CAD708EC-D241-4DCA-A9E7-102D8408B684}" srcOrd="1" destOrd="0" presId="urn:microsoft.com/office/officeart/2005/8/layout/orgChart1"/>
    <dgm:cxn modelId="{CEFFBF50-3322-4AB4-A579-8B6C9E15D5F0}" srcId="{9DD3DEE3-462A-4261-B59D-56285E5D9CB7}" destId="{54888C6A-2E62-42EC-ABE3-0DF87A629214}" srcOrd="2" destOrd="0" parTransId="{50F89145-1688-493A-881E-D47538A1E55B}" sibTransId="{DF79CE5F-32B9-472B-A50D-90CB7FC56198}"/>
    <dgm:cxn modelId="{423BE170-2898-43E8-AF8D-734D8047733E}" type="presOf" srcId="{761A1E22-8C8A-4152-B1C8-4F9F35F000B9}" destId="{71B521A9-878F-41A1-8364-290A0A9B4615}" srcOrd="0" destOrd="0" presId="urn:microsoft.com/office/officeart/2005/8/layout/orgChart1"/>
    <dgm:cxn modelId="{716AF351-A0DC-4B91-AEAB-77AD99CFE47E}" type="presOf" srcId="{6E006925-3003-4720-8633-AD5D2DB96A2A}" destId="{834F9622-21F0-4ECB-9E40-25FD850DEA55}" srcOrd="1" destOrd="0" presId="urn:microsoft.com/office/officeart/2005/8/layout/orgChart1"/>
    <dgm:cxn modelId="{CC99BC72-6785-4C86-95FD-29DF5063F994}" srcId="{8C988897-87B7-4517-9047-DFA7A88C38ED}" destId="{E557E23E-C3E6-42E2-868F-877B1D8E73CB}" srcOrd="3" destOrd="0" parTransId="{FAF273E8-FB9C-4474-92C9-A0CDE5FEDDC1}" sibTransId="{91839324-1A32-42DB-82F4-5BC2D4910982}"/>
    <dgm:cxn modelId="{3B785873-CEBF-49A7-87B5-DC2E32181F0E}" type="presOf" srcId="{4C4BD85B-0727-42BB-9783-8216A795E60F}" destId="{85ABCF13-624C-447D-8FF5-0CE2E7720E42}" srcOrd="0" destOrd="0" presId="urn:microsoft.com/office/officeart/2005/8/layout/orgChart1"/>
    <dgm:cxn modelId="{65AB1174-3962-4FF8-8723-2AE8B3B817B7}" srcId="{E7F791D8-DB8B-4941-8E11-8F020F632050}" destId="{1C9732A4-6FF4-40D6-8D61-7C8DB349EAC3}" srcOrd="0" destOrd="0" parTransId="{B5308BE8-90F6-43A8-855E-10D425C89E8B}" sibTransId="{F05417B5-AA2B-4AAA-8E75-A2CDD48B10F8}"/>
    <dgm:cxn modelId="{F6368154-4A20-4B2A-85E0-F6357F1E851E}" type="presOf" srcId="{C8DBDEE6-FC39-4EAC-9FE5-3F58BA91234D}" destId="{EC5FC57E-FFD1-4726-A3E4-2553AA7909D3}" srcOrd="1" destOrd="0" presId="urn:microsoft.com/office/officeart/2005/8/layout/orgChart1"/>
    <dgm:cxn modelId="{0441F475-15D7-48A9-8F50-227B93309655}" srcId="{54888C6A-2E62-42EC-ABE3-0DF87A629214}" destId="{BCF27CF9-0ED4-4612-94D1-DC1E000F8967}" srcOrd="2" destOrd="0" parTransId="{07113328-4499-450A-BD57-0C9620EB93F0}" sibTransId="{92E0E80D-3C40-4A36-B209-168F406C7343}"/>
    <dgm:cxn modelId="{E8D4F759-7750-4068-BD3D-21D9723E1FF4}" type="presOf" srcId="{0D6DE103-5F19-4F21-AF6F-B55ED5F6FC89}" destId="{79144865-3B4A-444C-AEA8-09D3B2F37F0F}" srcOrd="1" destOrd="0" presId="urn:microsoft.com/office/officeart/2005/8/layout/orgChart1"/>
    <dgm:cxn modelId="{24AB405A-FF6E-4CE0-95EF-84F3943834B8}" type="presOf" srcId="{25EF0883-7505-481B-9361-6A17544145A1}" destId="{790C1FBB-4319-4B98-A874-713788B861D2}" srcOrd="1" destOrd="0" presId="urn:microsoft.com/office/officeart/2005/8/layout/orgChart1"/>
    <dgm:cxn modelId="{60745581-CE8E-4C98-B971-51EF6B7389FA}" type="presOf" srcId="{CF2BD7BF-C222-47C6-8576-73591C998929}" destId="{81EC3E32-9936-4258-BA62-6F3125D3B237}" srcOrd="0" destOrd="0" presId="urn:microsoft.com/office/officeart/2005/8/layout/orgChart1"/>
    <dgm:cxn modelId="{67A68282-C874-41CA-8DA7-3BD60078A570}" type="presOf" srcId="{C8DBDEE6-FC39-4EAC-9FE5-3F58BA91234D}" destId="{8EEA6470-AFE7-4291-ACFD-8B7320266F1F}" srcOrd="0" destOrd="0" presId="urn:microsoft.com/office/officeart/2005/8/layout/orgChart1"/>
    <dgm:cxn modelId="{93287186-847A-4C4C-B33E-0E5A7121DC5E}" srcId="{DBDCEDFB-608B-4A42-8D1C-E32FF44E1AA3}" destId="{4DC35318-58C7-4147-8858-E425136D1683}" srcOrd="0" destOrd="0" parTransId="{DF6A2EB0-C2F6-4627-BDB3-F3F1C0532CDD}" sibTransId="{1F629A39-7A34-414A-8E5C-F51172420AC2}"/>
    <dgm:cxn modelId="{ACEF8986-1F32-473C-9BA9-E1B2B8A8630E}" type="presOf" srcId="{1FB87FED-6972-430F-AC0C-71746CE494E0}" destId="{26B8BE0C-B6B2-41D8-9DFA-F1DA7BCA117F}" srcOrd="0" destOrd="0" presId="urn:microsoft.com/office/officeart/2005/8/layout/orgChart1"/>
    <dgm:cxn modelId="{DF9BA686-35BE-44AD-B748-1415E81BECFD}" type="presOf" srcId="{039FA459-9C06-468E-B1F7-E5A82D5411B4}" destId="{A35E73FB-957F-43C2-897A-B1C7D473680F}" srcOrd="1" destOrd="0" presId="urn:microsoft.com/office/officeart/2005/8/layout/orgChart1"/>
    <dgm:cxn modelId="{7361F286-5287-41AB-80FD-4A6690BDBCF4}" type="presOf" srcId="{13E6143E-3AE3-4A1E-A16D-C96A8323BDC6}" destId="{CD140378-386D-4430-9B29-B12CE2D6642D}" srcOrd="0" destOrd="0" presId="urn:microsoft.com/office/officeart/2005/8/layout/orgChart1"/>
    <dgm:cxn modelId="{E21B6C89-78EE-460A-B5F6-9BC6367841F3}" type="presOf" srcId="{30F82C44-F97D-491F-8381-068EEDDCD21B}" destId="{6C59BE90-8A13-4704-9367-E91AC7A75F0B}" srcOrd="0" destOrd="0" presId="urn:microsoft.com/office/officeart/2005/8/layout/orgChart1"/>
    <dgm:cxn modelId="{D1F5428A-12F3-4C6F-9D7B-95326A6BD2E3}" type="presOf" srcId="{A49BBB18-A6FD-44E5-A65B-0C9981C38114}" destId="{E63178FE-4D58-419B-A8C9-74DAD9516F21}" srcOrd="1" destOrd="0" presId="urn:microsoft.com/office/officeart/2005/8/layout/orgChart1"/>
    <dgm:cxn modelId="{50E59F8A-466A-4054-B6DB-BA2DDD8DB677}" type="presOf" srcId="{6FDAC7CE-C7EF-40C3-B712-A3202A457CEF}" destId="{C79CBE1C-5BCD-423C-9518-DB48B8FD8151}" srcOrd="0" destOrd="0" presId="urn:microsoft.com/office/officeart/2005/8/layout/orgChart1"/>
    <dgm:cxn modelId="{1D2B958D-62C7-408E-8F94-42FC0172C944}" type="presOf" srcId="{5EEA353E-AFC6-4F20-8D77-AD8593576011}" destId="{10893535-E133-4731-B500-FBF09351815B}" srcOrd="0" destOrd="0" presId="urn:microsoft.com/office/officeart/2005/8/layout/orgChart1"/>
    <dgm:cxn modelId="{1E2E4B8E-29F4-4F58-84B4-1CCE94A61F00}" type="presOf" srcId="{4C4BD85B-0727-42BB-9783-8216A795E60F}" destId="{63D41D46-AC02-4BF1-94A7-5E086860FB7F}" srcOrd="1" destOrd="0" presId="urn:microsoft.com/office/officeart/2005/8/layout/orgChart1"/>
    <dgm:cxn modelId="{EDCE8290-8FBE-4A86-830B-5CBAACDD87A1}" type="presOf" srcId="{50F89145-1688-493A-881E-D47538A1E55B}" destId="{6E82193E-6543-4E49-84CB-9B5D897936A4}" srcOrd="0" destOrd="0" presId="urn:microsoft.com/office/officeart/2005/8/layout/orgChart1"/>
    <dgm:cxn modelId="{323DE692-7534-44B7-BE60-A371587FEB78}" type="presOf" srcId="{97751B3B-AFD0-4B86-8DBD-7987C92C6E32}" destId="{90ACCBF6-8CCD-45FE-A2D6-178440392A5C}" srcOrd="0" destOrd="0" presId="urn:microsoft.com/office/officeart/2005/8/layout/orgChart1"/>
    <dgm:cxn modelId="{AD3C1994-2CD1-450E-95ED-A1A9BCA0D8CA}" type="presOf" srcId="{8987B43F-EE7D-4124-AB48-46F3316BE98E}" destId="{5F27B44E-4915-466B-B832-3FF70F523FEB}" srcOrd="0" destOrd="0" presId="urn:microsoft.com/office/officeart/2005/8/layout/orgChart1"/>
    <dgm:cxn modelId="{3C986995-76F4-4DB1-B6C5-DF1068BA7E44}" srcId="{8C988897-87B7-4517-9047-DFA7A88C38ED}" destId="{C8DBDEE6-FC39-4EAC-9FE5-3F58BA91234D}" srcOrd="1" destOrd="0" parTransId="{F39F50FA-EEE3-4D7A-8C4B-320B85211430}" sibTransId="{11858CF6-7F77-48B3-AFAA-6DF7453AF8F1}"/>
    <dgm:cxn modelId="{6E4C3C9B-13CB-4D1E-91E9-A66904E6DEB5}" srcId="{CEFE54B5-1BF0-40D8-A238-41A7896496D8}" destId="{761A1E22-8C8A-4152-B1C8-4F9F35F000B9}" srcOrd="1" destOrd="0" parTransId="{D1805DA1-904F-4B00-AF8A-FF206D51C6A2}" sibTransId="{E093EFA0-7F0F-40F5-A5A5-B7265D03F82F}"/>
    <dgm:cxn modelId="{B99B3A9F-FE4E-4D09-8509-A4674E4B7357}" type="presOf" srcId="{25EF0883-7505-481B-9361-6A17544145A1}" destId="{FB709349-E6D3-41D4-81B7-0F67304A6EFE}" srcOrd="0" destOrd="0" presId="urn:microsoft.com/office/officeart/2005/8/layout/orgChart1"/>
    <dgm:cxn modelId="{13D921A1-50CD-4A0D-8AD6-B63AC3B3970A}" type="presOf" srcId="{54888C6A-2E62-42EC-ABE3-0DF87A629214}" destId="{BA7F7D44-6199-4026-A414-99CBB0B6525A}" srcOrd="0" destOrd="0" presId="urn:microsoft.com/office/officeart/2005/8/layout/orgChart1"/>
    <dgm:cxn modelId="{B9E16CA3-19B7-4506-A3D5-9C8343681DC3}" type="presOf" srcId="{D0BD1B9D-6FCD-4A08-9C31-03A5F2B41B4F}" destId="{AECCE8B3-DA7B-4E76-B030-79E4CD768A70}" srcOrd="0" destOrd="0" presId="urn:microsoft.com/office/officeart/2005/8/layout/orgChart1"/>
    <dgm:cxn modelId="{AECE6EA4-1A50-4967-A6B6-39AB2A1BC47E}" type="presOf" srcId="{F39F50FA-EEE3-4D7A-8C4B-320B85211430}" destId="{07F66D99-B4F5-48C7-93B8-AB3D74072266}" srcOrd="0" destOrd="0" presId="urn:microsoft.com/office/officeart/2005/8/layout/orgChart1"/>
    <dgm:cxn modelId="{1D9C0DA6-A66C-4896-BD02-0B3148810FCA}" srcId="{CEFE54B5-1BF0-40D8-A238-41A7896496D8}" destId="{25EF0883-7505-481B-9361-6A17544145A1}" srcOrd="2" destOrd="0" parTransId="{0CF47565-496B-452B-A332-F8123452058B}" sibTransId="{4C8A066E-D124-4071-B943-8BCE9C106578}"/>
    <dgm:cxn modelId="{1B4D81A7-E499-466B-B5CC-AFF4D599A235}" type="presOf" srcId="{4DC35318-58C7-4147-8858-E425136D1683}" destId="{02C4CFB1-59D2-4729-AA7C-CF68C37FF919}" srcOrd="1" destOrd="0" presId="urn:microsoft.com/office/officeart/2005/8/layout/orgChart1"/>
    <dgm:cxn modelId="{C7DF87A8-10F2-4E8F-A8EE-3AE16DE07613}" type="presOf" srcId="{83BD93D6-7A0E-4A44-AB13-3EF7F617E4A6}" destId="{0CBDE9EB-5821-4336-A084-BD7690A27F60}" srcOrd="0" destOrd="0" presId="urn:microsoft.com/office/officeart/2005/8/layout/orgChart1"/>
    <dgm:cxn modelId="{C4D945A9-AE90-4C3E-867D-EFB87A266256}" type="presOf" srcId="{A7195517-ECE8-4D75-B284-DD7FC3A1C483}" destId="{FA714205-4B82-446D-B68E-7F652DFBEEDA}" srcOrd="1" destOrd="0" presId="urn:microsoft.com/office/officeart/2005/8/layout/orgChart1"/>
    <dgm:cxn modelId="{9618E4AB-218E-430D-AB48-A569C54853A1}" type="presOf" srcId="{4DC35318-58C7-4147-8858-E425136D1683}" destId="{15AF2AF8-D5F0-498F-90EB-7B4704CB01AF}" srcOrd="0" destOrd="0" presId="urn:microsoft.com/office/officeart/2005/8/layout/orgChart1"/>
    <dgm:cxn modelId="{F63A4DAC-047C-4F19-B353-26831C131B47}" type="presOf" srcId="{D1805DA1-904F-4B00-AF8A-FF206D51C6A2}" destId="{281EE699-AAC5-4334-987D-753B1F4AC9A0}" srcOrd="0" destOrd="0" presId="urn:microsoft.com/office/officeart/2005/8/layout/orgChart1"/>
    <dgm:cxn modelId="{C6C7A5B0-F44B-41BD-9D5D-F2F76FD1E08D}" srcId="{8C988897-87B7-4517-9047-DFA7A88C38ED}" destId="{039FA459-9C06-468E-B1F7-E5A82D5411B4}" srcOrd="2" destOrd="0" parTransId="{62D16580-86F9-40F0-867C-B38652B85398}" sibTransId="{F54622C5-0363-4600-8D38-21A33EE77957}"/>
    <dgm:cxn modelId="{DC3365B1-9AF8-4F67-95E0-1866B4B28D71}" type="presOf" srcId="{E7F791D8-DB8B-4941-8E11-8F020F632050}" destId="{D39158BC-EC6E-4B40-8CEA-F48343DDDE1E}" srcOrd="0" destOrd="0" presId="urn:microsoft.com/office/officeart/2005/8/layout/orgChart1"/>
    <dgm:cxn modelId="{D7C8A3B7-84C0-4AE1-95BE-6B54D7D09E01}" type="presOf" srcId="{8C988897-87B7-4517-9047-DFA7A88C38ED}" destId="{57776C70-4867-4A75-BB91-ECE4EAD53C8E}" srcOrd="0" destOrd="0" presId="urn:microsoft.com/office/officeart/2005/8/layout/orgChart1"/>
    <dgm:cxn modelId="{FC8C7DBA-41E4-468A-A79F-12AF63A32C8E}" srcId="{E7F791D8-DB8B-4941-8E11-8F020F632050}" destId="{DBDCEDFB-608B-4A42-8D1C-E32FF44E1AA3}" srcOrd="2" destOrd="0" parTransId="{FC5B815B-FF58-4D5A-AAF8-9B53BC2C56D1}" sibTransId="{799995E3-253C-4662-A9BD-72528A34F37D}"/>
    <dgm:cxn modelId="{AD9937BB-E54D-4E33-937C-9B5BCC6F0CAB}" type="presOf" srcId="{BEC94471-A240-436D-A246-F2E4CBD2830E}" destId="{D1C6E5F2-957F-4A86-84F2-A5705BB91D62}" srcOrd="1" destOrd="0" presId="urn:microsoft.com/office/officeart/2005/8/layout/orgChart1"/>
    <dgm:cxn modelId="{02C74FBD-E8C1-404C-8352-EDC105362234}" type="presOf" srcId="{B5308BE8-90F6-43A8-855E-10D425C89E8B}" destId="{7171381D-93AB-4757-BC70-85E048680918}" srcOrd="0" destOrd="0" presId="urn:microsoft.com/office/officeart/2005/8/layout/orgChart1"/>
    <dgm:cxn modelId="{EBA7D1BD-32F1-40E8-A8F9-DCA7F3C1D311}" type="presOf" srcId="{07113328-4499-450A-BD57-0C9620EB93F0}" destId="{CFA625AD-9497-48AF-9C6C-5957C633070F}" srcOrd="0" destOrd="0" presId="urn:microsoft.com/office/officeart/2005/8/layout/orgChart1"/>
    <dgm:cxn modelId="{492BF2BF-FDEA-4504-A331-C9E0EB873095}" type="presOf" srcId="{36D2158B-93CC-43DE-AB88-9EFEF1C7063B}" destId="{14B9B20F-EEAC-49AC-860E-E9C3552832C2}" srcOrd="1" destOrd="0" presId="urn:microsoft.com/office/officeart/2005/8/layout/orgChart1"/>
    <dgm:cxn modelId="{8E92F0C3-74A0-4B9A-A384-0BFE4F806FAE}" type="presOf" srcId="{9DD3DEE3-462A-4261-B59D-56285E5D9CB7}" destId="{33E8E7F3-CB8D-47FF-B6DF-7602F87EA73E}" srcOrd="1" destOrd="0" presId="urn:microsoft.com/office/officeart/2005/8/layout/orgChart1"/>
    <dgm:cxn modelId="{8D8A7CC8-A685-4875-AC76-03A08E7B5FD2}" type="presOf" srcId="{2AB31F72-6288-44D2-8072-2F3E8CA5E8E6}" destId="{1C01B158-6877-41F6-B07E-1C9B8910083F}" srcOrd="0" destOrd="0" presId="urn:microsoft.com/office/officeart/2005/8/layout/orgChart1"/>
    <dgm:cxn modelId="{46867CC9-D613-4786-BAB0-C56FE324B6E8}" type="presOf" srcId="{039FA459-9C06-468E-B1F7-E5A82D5411B4}" destId="{BDED5FC7-7ECA-4F93-98CF-FB3DDFEDBC40}" srcOrd="0" destOrd="0" presId="urn:microsoft.com/office/officeart/2005/8/layout/orgChart1"/>
    <dgm:cxn modelId="{6089C0CB-33AB-4FF3-B856-84E9617AF590}" type="presOf" srcId="{36D2158B-93CC-43DE-AB88-9EFEF1C7063B}" destId="{9FFF4862-2D69-492C-8F56-F0C1D1708546}" srcOrd="0" destOrd="0" presId="urn:microsoft.com/office/officeart/2005/8/layout/orgChart1"/>
    <dgm:cxn modelId="{0F9BBACF-908E-4833-8EA4-DF4A2773B241}" type="presOf" srcId="{8C988897-87B7-4517-9047-DFA7A88C38ED}" destId="{15FEAFC3-CF70-4F3C-9079-5273AB9F4416}" srcOrd="1" destOrd="0" presId="urn:microsoft.com/office/officeart/2005/8/layout/orgChart1"/>
    <dgm:cxn modelId="{C1FB86D0-3301-414C-8D9D-1DB236A0CA01}" srcId="{CEFE54B5-1BF0-40D8-A238-41A7896496D8}" destId="{A7195517-ECE8-4D75-B284-DD7FC3A1C483}" srcOrd="3" destOrd="0" parTransId="{3A71DE44-A883-452F-BD5C-5C1232AFF38F}" sibTransId="{B03912AA-9EC5-4CF4-8842-A978F5471BA2}"/>
    <dgm:cxn modelId="{CE4E22D1-3EE0-4F09-82A0-0CD5785AECDF}" srcId="{8C988897-87B7-4517-9047-DFA7A88C38ED}" destId="{97751B3B-AFD0-4B86-8DBD-7987C92C6E32}" srcOrd="4" destOrd="0" parTransId="{83BD93D6-7A0E-4A44-AB13-3EF7F617E4A6}" sibTransId="{CCD94597-4420-41FE-95DA-62E7EBB26D85}"/>
    <dgm:cxn modelId="{8D152BD1-C15E-4D92-A975-73CBD6E4487F}" srcId="{CEFE54B5-1BF0-40D8-A238-41A7896496D8}" destId="{4D793E25-9924-492C-B00A-32F155E6050A}" srcOrd="0" destOrd="0" parTransId="{30F82C44-F97D-491F-8381-068EEDDCD21B}" sibTransId="{FF3265DF-C755-46E3-B9BC-B845D9BAEC0A}"/>
    <dgm:cxn modelId="{3C4FA6D8-3C8A-4352-A5AC-A49105902F08}" type="presOf" srcId="{EE3A1FAB-7C4B-4877-92C0-F65374159DFF}" destId="{B08448DC-351C-4B03-9C3B-2CBC8AADAC90}" srcOrd="0" destOrd="0" presId="urn:microsoft.com/office/officeart/2005/8/layout/orgChart1"/>
    <dgm:cxn modelId="{F06C82DC-DD52-492B-A44B-619EF0EDA2E3}" type="presOf" srcId="{DF6A2EB0-C2F6-4627-BDB3-F3F1C0532CDD}" destId="{EC1D73F8-57E9-457F-8654-686756042FBD}" srcOrd="0" destOrd="0" presId="urn:microsoft.com/office/officeart/2005/8/layout/orgChart1"/>
    <dgm:cxn modelId="{836637E3-AAA0-4C0D-89AE-2921C23C9F26}" type="presOf" srcId="{9DD3DEE3-462A-4261-B59D-56285E5D9CB7}" destId="{2CA1596A-E42E-4974-AF6E-0D3AC01CF41C}" srcOrd="0" destOrd="0" presId="urn:microsoft.com/office/officeart/2005/8/layout/orgChart1"/>
    <dgm:cxn modelId="{BD41FAE8-F688-460A-8689-5853E70F3DBE}" type="presOf" srcId="{E557E23E-C3E6-42E2-868F-877B1D8E73CB}" destId="{A88EF65C-30E4-4BAB-91D7-5FCA3657199C}" srcOrd="1" destOrd="0" presId="urn:microsoft.com/office/officeart/2005/8/layout/orgChart1"/>
    <dgm:cxn modelId="{D0466CE9-1B7E-4713-A9CA-86540CA1A012}" type="presOf" srcId="{CEFE54B5-1BF0-40D8-A238-41A7896496D8}" destId="{D8C76C5F-CACD-4BE9-9210-01DA99ABE337}" srcOrd="1" destOrd="0" presId="urn:microsoft.com/office/officeart/2005/8/layout/orgChart1"/>
    <dgm:cxn modelId="{3F3DE9E9-BCE1-4553-AD2B-5D1514B648D0}" srcId="{54888C6A-2E62-42EC-ABE3-0DF87A629214}" destId="{CEFE54B5-1BF0-40D8-A238-41A7896496D8}" srcOrd="1" destOrd="0" parTransId="{1FB87FED-6972-430F-AC0C-71746CE494E0}" sibTransId="{6561193A-D219-4269-B667-3F90A154D0FB}"/>
    <dgm:cxn modelId="{F4D5D7EA-50C8-4DF5-B2CD-540C17136D47}" type="presOf" srcId="{DBDCEDFB-608B-4A42-8D1C-E32FF44E1AA3}" destId="{8B94B0B0-A045-4682-A903-89880EC43062}" srcOrd="1" destOrd="0" presId="urn:microsoft.com/office/officeart/2005/8/layout/orgChart1"/>
    <dgm:cxn modelId="{97376BEB-58BE-430E-845F-825A79E9D322}" type="presOf" srcId="{CDC32E48-8470-4047-9C56-5574FF1AE61B}" destId="{88564183-0CC7-4C92-BE75-FB1FDE2DB88B}" srcOrd="0" destOrd="0" presId="urn:microsoft.com/office/officeart/2005/8/layout/orgChart1"/>
    <dgm:cxn modelId="{ED2BA5EB-120E-45B6-9DDE-8EE3D970AB17}" type="presOf" srcId="{1C9732A4-6FF4-40D6-8D61-7C8DB349EAC3}" destId="{DD866608-B532-4C1E-9B13-FA9B1BC79E0F}" srcOrd="0" destOrd="0" presId="urn:microsoft.com/office/officeart/2005/8/layout/orgChart1"/>
    <dgm:cxn modelId="{DDEAB5EC-F63F-4E33-977D-15B7A3862F50}" type="presOf" srcId="{E7F791D8-DB8B-4941-8E11-8F020F632050}" destId="{0493376E-91BF-4B13-8A9A-8F5A5A027EBD}" srcOrd="1" destOrd="0" presId="urn:microsoft.com/office/officeart/2005/8/layout/orgChart1"/>
    <dgm:cxn modelId="{78E62EEE-6F46-47A5-9B1A-2C6E20AA583E}" type="presOf" srcId="{3420DA78-1189-4823-8264-4E3D7CD5A180}" destId="{1A834F76-1D49-4F9C-9A9B-722FDD68DB58}" srcOrd="0" destOrd="0" presId="urn:microsoft.com/office/officeart/2005/8/layout/orgChart1"/>
    <dgm:cxn modelId="{828787F1-FE03-4FFD-8CE8-92D4D8D665D8}" type="presOf" srcId="{BCF27CF9-0ED4-4612-94D1-DC1E000F8967}" destId="{E46FED4D-3C12-4A9A-8E18-C8A5D62B5747}" srcOrd="0" destOrd="0" presId="urn:microsoft.com/office/officeart/2005/8/layout/orgChart1"/>
    <dgm:cxn modelId="{37B1D8F2-169F-4594-837B-A3549D5E8229}" type="presOf" srcId="{97751B3B-AFD0-4B86-8DBD-7987C92C6E32}" destId="{0F1C5F80-8969-4F48-BD14-9FA94170E033}" srcOrd="1" destOrd="0" presId="urn:microsoft.com/office/officeart/2005/8/layout/orgChart1"/>
    <dgm:cxn modelId="{DB743CF3-49FF-44F2-AD08-3D2C02B7EC98}" srcId="{9DD3DEE3-462A-4261-B59D-56285E5D9CB7}" destId="{6E006925-3003-4720-8633-AD5D2DB96A2A}" srcOrd="0" destOrd="0" parTransId="{EE21B19B-79F6-4D43-9A5B-C3CB30C837EB}" sibTransId="{3B55E5E6-48FD-4015-BF60-694348163B1F}"/>
    <dgm:cxn modelId="{DB488EF4-80BF-49C8-941E-01420EA8E3FE}" type="presOf" srcId="{BCF27CF9-0ED4-4612-94D1-DC1E000F8967}" destId="{752354B9-535E-4F50-8E38-3DC6C7A96331}" srcOrd="1" destOrd="0" presId="urn:microsoft.com/office/officeart/2005/8/layout/orgChart1"/>
    <dgm:cxn modelId="{E20F80F6-2CD3-42B5-9910-7D14EF778F5E}" srcId="{BCF27CF9-0ED4-4612-94D1-DC1E000F8967}" destId="{2AB31F72-6288-44D2-8072-2F3E8CA5E8E6}" srcOrd="3" destOrd="0" parTransId="{F7DB04EC-4168-4743-9845-F6C1C690AAAC}" sibTransId="{93F5CAB4-2AB7-4A78-A535-D6B3D24DA627}"/>
    <dgm:cxn modelId="{97AE87FF-7BA1-4E1E-BACC-821DEC3E9501}" srcId="{BCF27CF9-0ED4-4612-94D1-DC1E000F8967}" destId="{13E6143E-3AE3-4A1E-A16D-C96A8323BDC6}" srcOrd="1" destOrd="0" parTransId="{CDC32E48-8470-4047-9C56-5574FF1AE61B}" sibTransId="{3989C149-0CD7-479A-A0B6-E6DAD0A57E2C}"/>
    <dgm:cxn modelId="{7F70C1FF-E6F1-4D88-B901-27F225AED909}" type="presOf" srcId="{BEC94471-A240-436D-A246-F2E4CBD2830E}" destId="{4E3B5942-48DC-4E61-A9E8-CBF6E9B1B977}" srcOrd="0" destOrd="0" presId="urn:microsoft.com/office/officeart/2005/8/layout/orgChart1"/>
    <dgm:cxn modelId="{4CE25458-8509-4611-AC76-BD2B6DE981F8}" type="presParOf" srcId="{1D702F36-EFBC-4D33-AFBB-22A512C7F89A}" destId="{0F5952D4-AD10-48F1-836D-D3FB1DE8A604}" srcOrd="0" destOrd="0" presId="urn:microsoft.com/office/officeart/2005/8/layout/orgChart1"/>
    <dgm:cxn modelId="{2CCBE90C-5C98-4635-8C3F-4B4BF38EC20C}" type="presParOf" srcId="{0F5952D4-AD10-48F1-836D-D3FB1DE8A604}" destId="{484AB7C5-C332-4B14-B96E-5D12DFA83A1A}" srcOrd="0" destOrd="0" presId="urn:microsoft.com/office/officeart/2005/8/layout/orgChart1"/>
    <dgm:cxn modelId="{EFE03019-F66C-4EE3-A2D9-FCEA0EE561C5}" type="presParOf" srcId="{484AB7C5-C332-4B14-B96E-5D12DFA83A1A}" destId="{2CA1596A-E42E-4974-AF6E-0D3AC01CF41C}" srcOrd="0" destOrd="0" presId="urn:microsoft.com/office/officeart/2005/8/layout/orgChart1"/>
    <dgm:cxn modelId="{7831B460-C4F4-4FC3-97B9-0D02C85E6556}" type="presParOf" srcId="{484AB7C5-C332-4B14-B96E-5D12DFA83A1A}" destId="{33E8E7F3-CB8D-47FF-B6DF-7602F87EA73E}" srcOrd="1" destOrd="0" presId="urn:microsoft.com/office/officeart/2005/8/layout/orgChart1"/>
    <dgm:cxn modelId="{EB61ABF8-43EB-4697-8753-747C2035568A}" type="presParOf" srcId="{0F5952D4-AD10-48F1-836D-D3FB1DE8A604}" destId="{01A00BDB-6586-4895-A6FB-B925826E3598}" srcOrd="1" destOrd="0" presId="urn:microsoft.com/office/officeart/2005/8/layout/orgChart1"/>
    <dgm:cxn modelId="{98E914EF-81E6-499B-98F3-8303A854A289}" type="presParOf" srcId="{01A00BDB-6586-4895-A6FB-B925826E3598}" destId="{2551C1A7-DE50-4108-9266-6F69CB481F73}" srcOrd="0" destOrd="0" presId="urn:microsoft.com/office/officeart/2005/8/layout/orgChart1"/>
    <dgm:cxn modelId="{1C990AA8-BC01-4795-BDFE-BB727095E87D}" type="presParOf" srcId="{01A00BDB-6586-4895-A6FB-B925826E3598}" destId="{89DBECB9-24C9-4020-8CF4-9284AF9BDD80}" srcOrd="1" destOrd="0" presId="urn:microsoft.com/office/officeart/2005/8/layout/orgChart1"/>
    <dgm:cxn modelId="{87B9A5BB-5533-4AFC-A994-81C55980DCAA}" type="presParOf" srcId="{89DBECB9-24C9-4020-8CF4-9284AF9BDD80}" destId="{DB19F846-2D40-48D2-818A-92BFF690C6F2}" srcOrd="0" destOrd="0" presId="urn:microsoft.com/office/officeart/2005/8/layout/orgChart1"/>
    <dgm:cxn modelId="{F263B9B9-9A4E-48A3-9D0C-DCF28EE4457A}" type="presParOf" srcId="{DB19F846-2D40-48D2-818A-92BFF690C6F2}" destId="{D39158BC-EC6E-4B40-8CEA-F48343DDDE1E}" srcOrd="0" destOrd="0" presId="urn:microsoft.com/office/officeart/2005/8/layout/orgChart1"/>
    <dgm:cxn modelId="{4593B716-233F-4B81-952D-07168E0CA301}" type="presParOf" srcId="{DB19F846-2D40-48D2-818A-92BFF690C6F2}" destId="{0493376E-91BF-4B13-8A9A-8F5A5A027EBD}" srcOrd="1" destOrd="0" presId="urn:microsoft.com/office/officeart/2005/8/layout/orgChart1"/>
    <dgm:cxn modelId="{B0A285DA-C414-4A25-A67B-77D00F4CA4B8}" type="presParOf" srcId="{89DBECB9-24C9-4020-8CF4-9284AF9BDD80}" destId="{381EAE75-06E3-4FC4-B3F3-D052430AA7A2}" srcOrd="1" destOrd="0" presId="urn:microsoft.com/office/officeart/2005/8/layout/orgChart1"/>
    <dgm:cxn modelId="{E7D3B963-7A7B-4739-B72A-AA28442EC7B3}" type="presParOf" srcId="{381EAE75-06E3-4FC4-B3F3-D052430AA7A2}" destId="{7171381D-93AB-4757-BC70-85E048680918}" srcOrd="0" destOrd="0" presId="urn:microsoft.com/office/officeart/2005/8/layout/orgChart1"/>
    <dgm:cxn modelId="{E7637E95-4B4C-4AA5-ADBA-A94F038E310E}" type="presParOf" srcId="{381EAE75-06E3-4FC4-B3F3-D052430AA7A2}" destId="{79E6D2E0-650D-4B3C-BD53-455F528E0347}" srcOrd="1" destOrd="0" presId="urn:microsoft.com/office/officeart/2005/8/layout/orgChart1"/>
    <dgm:cxn modelId="{176932B7-113C-4AAD-9CD0-19F5ED24156D}" type="presParOf" srcId="{79E6D2E0-650D-4B3C-BD53-455F528E0347}" destId="{B821B186-CDA8-46AB-B34F-024F7CF5F91E}" srcOrd="0" destOrd="0" presId="urn:microsoft.com/office/officeart/2005/8/layout/orgChart1"/>
    <dgm:cxn modelId="{BF2124C4-7819-472F-AD81-CA9153E301D1}" type="presParOf" srcId="{B821B186-CDA8-46AB-B34F-024F7CF5F91E}" destId="{DD866608-B532-4C1E-9B13-FA9B1BC79E0F}" srcOrd="0" destOrd="0" presId="urn:microsoft.com/office/officeart/2005/8/layout/orgChart1"/>
    <dgm:cxn modelId="{C07EB958-0B25-48D2-969B-2380871EFF6C}" type="presParOf" srcId="{B821B186-CDA8-46AB-B34F-024F7CF5F91E}" destId="{626D83D9-7DC2-49A7-9CAE-3B1BAE9F1C8F}" srcOrd="1" destOrd="0" presId="urn:microsoft.com/office/officeart/2005/8/layout/orgChart1"/>
    <dgm:cxn modelId="{684F8E41-389C-4E5A-910D-A4472625469C}" type="presParOf" srcId="{79E6D2E0-650D-4B3C-BD53-455F528E0347}" destId="{7529C337-3F1A-48D3-8371-05182F7FDDBA}" srcOrd="1" destOrd="0" presId="urn:microsoft.com/office/officeart/2005/8/layout/orgChart1"/>
    <dgm:cxn modelId="{D656C166-B267-42B1-B1BC-50ADBC8FD533}" type="presParOf" srcId="{79E6D2E0-650D-4B3C-BD53-455F528E0347}" destId="{F5C0DCC5-069C-41EF-96E8-5C44A861B80C}" srcOrd="2" destOrd="0" presId="urn:microsoft.com/office/officeart/2005/8/layout/orgChart1"/>
    <dgm:cxn modelId="{F6D5819F-E8C8-43D2-AF4A-8DB290132187}" type="presParOf" srcId="{381EAE75-06E3-4FC4-B3F3-D052430AA7A2}" destId="{4617481A-8433-4D8A-9D92-8280515D5E7A}" srcOrd="2" destOrd="0" presId="urn:microsoft.com/office/officeart/2005/8/layout/orgChart1"/>
    <dgm:cxn modelId="{6D70289F-1FB5-4B6D-9387-71661E7152B6}" type="presParOf" srcId="{381EAE75-06E3-4FC4-B3F3-D052430AA7A2}" destId="{758C4A9F-C30E-4953-BF90-265BABA0581D}" srcOrd="3" destOrd="0" presId="urn:microsoft.com/office/officeart/2005/8/layout/orgChart1"/>
    <dgm:cxn modelId="{F46788B4-B827-4C4F-BE2A-AB7E02962C8C}" type="presParOf" srcId="{758C4A9F-C30E-4953-BF90-265BABA0581D}" destId="{DCC1CDE0-6ED1-45F1-95DA-E0969DACE8A5}" srcOrd="0" destOrd="0" presId="urn:microsoft.com/office/officeart/2005/8/layout/orgChart1"/>
    <dgm:cxn modelId="{10010ECF-AA19-4B40-BC81-6463107B2C4C}" type="presParOf" srcId="{DCC1CDE0-6ED1-45F1-95DA-E0969DACE8A5}" destId="{57776C70-4867-4A75-BB91-ECE4EAD53C8E}" srcOrd="0" destOrd="0" presId="urn:microsoft.com/office/officeart/2005/8/layout/orgChart1"/>
    <dgm:cxn modelId="{7272DAC5-79BB-4522-969E-5EB722C0CA84}" type="presParOf" srcId="{DCC1CDE0-6ED1-45F1-95DA-E0969DACE8A5}" destId="{15FEAFC3-CF70-4F3C-9079-5273AB9F4416}" srcOrd="1" destOrd="0" presId="urn:microsoft.com/office/officeart/2005/8/layout/orgChart1"/>
    <dgm:cxn modelId="{26A31C8F-2A52-4E00-B1EC-0C54954A3F01}" type="presParOf" srcId="{758C4A9F-C30E-4953-BF90-265BABA0581D}" destId="{1B178C22-EA4D-4D36-B1AF-D7FC02535957}" srcOrd="1" destOrd="0" presId="urn:microsoft.com/office/officeart/2005/8/layout/orgChart1"/>
    <dgm:cxn modelId="{324EF78C-9C78-4F73-9B94-F7AA22B6EA24}" type="presParOf" srcId="{1B178C22-EA4D-4D36-B1AF-D7FC02535957}" destId="{5F27B44E-4915-466B-B832-3FF70F523FEB}" srcOrd="0" destOrd="0" presId="urn:microsoft.com/office/officeart/2005/8/layout/orgChart1"/>
    <dgm:cxn modelId="{D725365B-0916-4C44-97DC-B3D6CD3849A5}" type="presParOf" srcId="{1B178C22-EA4D-4D36-B1AF-D7FC02535957}" destId="{5B513C3E-6329-4A1B-BFEB-1ECA2EC96EE9}" srcOrd="1" destOrd="0" presId="urn:microsoft.com/office/officeart/2005/8/layout/orgChart1"/>
    <dgm:cxn modelId="{2DB25D4D-801D-4500-8850-C7B7B7B3A64A}" type="presParOf" srcId="{5B513C3E-6329-4A1B-BFEB-1ECA2EC96EE9}" destId="{A545F28C-A406-4024-AFE2-62D786B723BF}" srcOrd="0" destOrd="0" presId="urn:microsoft.com/office/officeart/2005/8/layout/orgChart1"/>
    <dgm:cxn modelId="{DE041A12-1082-494C-B940-EDB6C7AE18F0}" type="presParOf" srcId="{A545F28C-A406-4024-AFE2-62D786B723BF}" destId="{C79CBE1C-5BCD-423C-9518-DB48B8FD8151}" srcOrd="0" destOrd="0" presId="urn:microsoft.com/office/officeart/2005/8/layout/orgChart1"/>
    <dgm:cxn modelId="{CA77A693-3FE7-4907-BA25-5EF8873E7797}" type="presParOf" srcId="{A545F28C-A406-4024-AFE2-62D786B723BF}" destId="{9438E796-ECFF-45AF-BDAD-F51F38B80D1A}" srcOrd="1" destOrd="0" presId="urn:microsoft.com/office/officeart/2005/8/layout/orgChart1"/>
    <dgm:cxn modelId="{2AA0CDAF-2FAC-4E45-B243-8E0FD2F4A5A7}" type="presParOf" srcId="{5B513C3E-6329-4A1B-BFEB-1ECA2EC96EE9}" destId="{6162516E-BD21-451B-ACAE-2F0D599DC449}" srcOrd="1" destOrd="0" presId="urn:microsoft.com/office/officeart/2005/8/layout/orgChart1"/>
    <dgm:cxn modelId="{506B477F-35A1-44AF-B852-80C1E135FBA9}" type="presParOf" srcId="{5B513C3E-6329-4A1B-BFEB-1ECA2EC96EE9}" destId="{70B8ECED-25A7-4C38-9712-D19C6F945148}" srcOrd="2" destOrd="0" presId="urn:microsoft.com/office/officeart/2005/8/layout/orgChart1"/>
    <dgm:cxn modelId="{C7A3C0E3-5BF5-4DED-AC65-8C30547EB304}" type="presParOf" srcId="{1B178C22-EA4D-4D36-B1AF-D7FC02535957}" destId="{07F66D99-B4F5-48C7-93B8-AB3D74072266}" srcOrd="2" destOrd="0" presId="urn:microsoft.com/office/officeart/2005/8/layout/orgChart1"/>
    <dgm:cxn modelId="{374C9884-147C-409F-9E87-1F7BDDFDA746}" type="presParOf" srcId="{1B178C22-EA4D-4D36-B1AF-D7FC02535957}" destId="{B72475A6-A71F-4C7F-ADD0-09334CAE0458}" srcOrd="3" destOrd="0" presId="urn:microsoft.com/office/officeart/2005/8/layout/orgChart1"/>
    <dgm:cxn modelId="{D99EFA1A-65D8-4CF7-81C7-5197082BDE30}" type="presParOf" srcId="{B72475A6-A71F-4C7F-ADD0-09334CAE0458}" destId="{DBADEBEC-4756-4E0A-8036-A14CBFB960EB}" srcOrd="0" destOrd="0" presId="urn:microsoft.com/office/officeart/2005/8/layout/orgChart1"/>
    <dgm:cxn modelId="{6ACA3227-A90F-4504-A8B4-83C320A1775D}" type="presParOf" srcId="{DBADEBEC-4756-4E0A-8036-A14CBFB960EB}" destId="{8EEA6470-AFE7-4291-ACFD-8B7320266F1F}" srcOrd="0" destOrd="0" presId="urn:microsoft.com/office/officeart/2005/8/layout/orgChart1"/>
    <dgm:cxn modelId="{F7D0BC23-B302-4731-8973-7A668E95FD3A}" type="presParOf" srcId="{DBADEBEC-4756-4E0A-8036-A14CBFB960EB}" destId="{EC5FC57E-FFD1-4726-A3E4-2553AA7909D3}" srcOrd="1" destOrd="0" presId="urn:microsoft.com/office/officeart/2005/8/layout/orgChart1"/>
    <dgm:cxn modelId="{3F4E9DD3-5D74-4F82-AD5A-AA2E85735A44}" type="presParOf" srcId="{B72475A6-A71F-4C7F-ADD0-09334CAE0458}" destId="{4D5A0297-B561-4CAE-B4AE-664240F079F6}" srcOrd="1" destOrd="0" presId="urn:microsoft.com/office/officeart/2005/8/layout/orgChart1"/>
    <dgm:cxn modelId="{B5B0E34F-3156-48F8-828B-E4D8AA8DD7AF}" type="presParOf" srcId="{B72475A6-A71F-4C7F-ADD0-09334CAE0458}" destId="{5C53ABD1-E59C-4483-BD92-6E2BFC55B79B}" srcOrd="2" destOrd="0" presId="urn:microsoft.com/office/officeart/2005/8/layout/orgChart1"/>
    <dgm:cxn modelId="{BCF036AA-58AA-4413-9180-F5204AA46351}" type="presParOf" srcId="{1B178C22-EA4D-4D36-B1AF-D7FC02535957}" destId="{983796B0-4E24-4037-A756-23DAC096EEDD}" srcOrd="4" destOrd="0" presId="urn:microsoft.com/office/officeart/2005/8/layout/orgChart1"/>
    <dgm:cxn modelId="{FF07573F-6B23-4B8D-BBEB-FE6A548B7FE2}" type="presParOf" srcId="{1B178C22-EA4D-4D36-B1AF-D7FC02535957}" destId="{4F03B16F-0CD1-4F73-AE40-373E35BB09F6}" srcOrd="5" destOrd="0" presId="urn:microsoft.com/office/officeart/2005/8/layout/orgChart1"/>
    <dgm:cxn modelId="{E26A5BC3-CCE3-4E15-ABA1-8001CA70FB7C}" type="presParOf" srcId="{4F03B16F-0CD1-4F73-AE40-373E35BB09F6}" destId="{982166F2-55D1-4F2F-ACE6-7257FB6EBFCD}" srcOrd="0" destOrd="0" presId="urn:microsoft.com/office/officeart/2005/8/layout/orgChart1"/>
    <dgm:cxn modelId="{4D7DD331-FF2C-4B9E-B2E2-18EE131541F9}" type="presParOf" srcId="{982166F2-55D1-4F2F-ACE6-7257FB6EBFCD}" destId="{BDED5FC7-7ECA-4F93-98CF-FB3DDFEDBC40}" srcOrd="0" destOrd="0" presId="urn:microsoft.com/office/officeart/2005/8/layout/orgChart1"/>
    <dgm:cxn modelId="{37313631-BAE3-414A-8EDE-1702B03C8F31}" type="presParOf" srcId="{982166F2-55D1-4F2F-ACE6-7257FB6EBFCD}" destId="{A35E73FB-957F-43C2-897A-B1C7D473680F}" srcOrd="1" destOrd="0" presId="urn:microsoft.com/office/officeart/2005/8/layout/orgChart1"/>
    <dgm:cxn modelId="{8BE409F8-90EF-4D3F-BDE2-38A609074F04}" type="presParOf" srcId="{4F03B16F-0CD1-4F73-AE40-373E35BB09F6}" destId="{DB20039D-E80F-45B7-BEFC-CC83647384D1}" srcOrd="1" destOrd="0" presId="urn:microsoft.com/office/officeart/2005/8/layout/orgChart1"/>
    <dgm:cxn modelId="{F7D9B9F3-7C5A-438E-96D3-BAC7416B6213}" type="presParOf" srcId="{4F03B16F-0CD1-4F73-AE40-373E35BB09F6}" destId="{606C1A11-5207-4326-813F-D30B0337645E}" srcOrd="2" destOrd="0" presId="urn:microsoft.com/office/officeart/2005/8/layout/orgChart1"/>
    <dgm:cxn modelId="{471D7EF7-D987-4966-BF29-E545AF6D91FA}" type="presParOf" srcId="{1B178C22-EA4D-4D36-B1AF-D7FC02535957}" destId="{5AC7132E-9C97-4821-9AB9-A1B5D43163E9}" srcOrd="6" destOrd="0" presId="urn:microsoft.com/office/officeart/2005/8/layout/orgChart1"/>
    <dgm:cxn modelId="{2EDA4B0A-6E05-40D0-93E9-C23BDB17594A}" type="presParOf" srcId="{1B178C22-EA4D-4D36-B1AF-D7FC02535957}" destId="{0BA209E4-D36D-409B-80D8-7847D7F6E3CE}" srcOrd="7" destOrd="0" presId="urn:microsoft.com/office/officeart/2005/8/layout/orgChart1"/>
    <dgm:cxn modelId="{D2F6E3C3-B825-43DC-8362-FAC22330F992}" type="presParOf" srcId="{0BA209E4-D36D-409B-80D8-7847D7F6E3CE}" destId="{62AA3CB0-ABBF-4DF4-AD13-7566DE887EB4}" srcOrd="0" destOrd="0" presId="urn:microsoft.com/office/officeart/2005/8/layout/orgChart1"/>
    <dgm:cxn modelId="{674ED950-33A8-418A-A381-254109FCF948}" type="presParOf" srcId="{62AA3CB0-ABBF-4DF4-AD13-7566DE887EB4}" destId="{D0C06A9D-9519-414B-BFF8-974E13F78F47}" srcOrd="0" destOrd="0" presId="urn:microsoft.com/office/officeart/2005/8/layout/orgChart1"/>
    <dgm:cxn modelId="{A8186050-2F2E-4FDC-B2F6-67E536058458}" type="presParOf" srcId="{62AA3CB0-ABBF-4DF4-AD13-7566DE887EB4}" destId="{A88EF65C-30E4-4BAB-91D7-5FCA3657199C}" srcOrd="1" destOrd="0" presId="urn:microsoft.com/office/officeart/2005/8/layout/orgChart1"/>
    <dgm:cxn modelId="{413EF333-2D5C-4487-9E9A-D18A91B53D05}" type="presParOf" srcId="{0BA209E4-D36D-409B-80D8-7847D7F6E3CE}" destId="{1A509501-179F-4793-AFAC-EA635C5BE1EA}" srcOrd="1" destOrd="0" presId="urn:microsoft.com/office/officeart/2005/8/layout/orgChart1"/>
    <dgm:cxn modelId="{92CCF441-19BD-4D4B-B025-6D3C75BE4792}" type="presParOf" srcId="{0BA209E4-D36D-409B-80D8-7847D7F6E3CE}" destId="{45560DA3-8A58-46ED-A2B2-045EFA99D928}" srcOrd="2" destOrd="0" presId="urn:microsoft.com/office/officeart/2005/8/layout/orgChart1"/>
    <dgm:cxn modelId="{7220B3C5-F2BF-4208-BD9F-DFC30FAC0400}" type="presParOf" srcId="{1B178C22-EA4D-4D36-B1AF-D7FC02535957}" destId="{0CBDE9EB-5821-4336-A084-BD7690A27F60}" srcOrd="8" destOrd="0" presId="urn:microsoft.com/office/officeart/2005/8/layout/orgChart1"/>
    <dgm:cxn modelId="{133AD36D-AFBA-47FE-8C91-7B45A94DE942}" type="presParOf" srcId="{1B178C22-EA4D-4D36-B1AF-D7FC02535957}" destId="{D00C3EFE-24A9-474F-A311-8B3689436531}" srcOrd="9" destOrd="0" presId="urn:microsoft.com/office/officeart/2005/8/layout/orgChart1"/>
    <dgm:cxn modelId="{03821375-DC58-4B72-9F20-2BD416148FA4}" type="presParOf" srcId="{D00C3EFE-24A9-474F-A311-8B3689436531}" destId="{97E76F27-4B03-412B-BE11-A7A8058031CA}" srcOrd="0" destOrd="0" presId="urn:microsoft.com/office/officeart/2005/8/layout/orgChart1"/>
    <dgm:cxn modelId="{268A901C-A686-4A99-A0F4-6562462B0A6E}" type="presParOf" srcId="{97E76F27-4B03-412B-BE11-A7A8058031CA}" destId="{90ACCBF6-8CCD-45FE-A2D6-178440392A5C}" srcOrd="0" destOrd="0" presId="urn:microsoft.com/office/officeart/2005/8/layout/orgChart1"/>
    <dgm:cxn modelId="{B01CF935-2A5E-4E16-A8DE-06303090668C}" type="presParOf" srcId="{97E76F27-4B03-412B-BE11-A7A8058031CA}" destId="{0F1C5F80-8969-4F48-BD14-9FA94170E033}" srcOrd="1" destOrd="0" presId="urn:microsoft.com/office/officeart/2005/8/layout/orgChart1"/>
    <dgm:cxn modelId="{0473C9B8-63C1-4D33-9981-5A56C6B133E8}" type="presParOf" srcId="{D00C3EFE-24A9-474F-A311-8B3689436531}" destId="{39B9E323-7C7C-438C-8EDD-E99CB8E8E4EF}" srcOrd="1" destOrd="0" presId="urn:microsoft.com/office/officeart/2005/8/layout/orgChart1"/>
    <dgm:cxn modelId="{1FC4AC75-0A72-4915-800C-1ADC7EAB4C7F}" type="presParOf" srcId="{D00C3EFE-24A9-474F-A311-8B3689436531}" destId="{0F884F7E-E24C-4F19-804E-E06856C1A023}" srcOrd="2" destOrd="0" presId="urn:microsoft.com/office/officeart/2005/8/layout/orgChart1"/>
    <dgm:cxn modelId="{331A44C1-DD73-4C73-8348-2238F539EA97}" type="presParOf" srcId="{758C4A9F-C30E-4953-BF90-265BABA0581D}" destId="{2614C827-FB91-461A-A733-F1E13A0FE48A}" srcOrd="2" destOrd="0" presId="urn:microsoft.com/office/officeart/2005/8/layout/orgChart1"/>
    <dgm:cxn modelId="{932245C6-7852-4F11-9454-338BF6D4E5D1}" type="presParOf" srcId="{381EAE75-06E3-4FC4-B3F3-D052430AA7A2}" destId="{9DFDC392-D7E9-4EFA-91C1-637CE0F3CB14}" srcOrd="4" destOrd="0" presId="urn:microsoft.com/office/officeart/2005/8/layout/orgChart1"/>
    <dgm:cxn modelId="{79DBEAEC-74B7-4874-8E15-758772766A2D}" type="presParOf" srcId="{381EAE75-06E3-4FC4-B3F3-D052430AA7A2}" destId="{DFD22D27-3764-4CA2-B096-21DF26393BD4}" srcOrd="5" destOrd="0" presId="urn:microsoft.com/office/officeart/2005/8/layout/orgChart1"/>
    <dgm:cxn modelId="{A9B26223-53E1-472D-AEEF-77647AFF626A}" type="presParOf" srcId="{DFD22D27-3764-4CA2-B096-21DF26393BD4}" destId="{58AA9A03-210D-4578-A296-A1D511C79BAC}" srcOrd="0" destOrd="0" presId="urn:microsoft.com/office/officeart/2005/8/layout/orgChart1"/>
    <dgm:cxn modelId="{A67AB1C9-E4AF-451E-BE69-2D8B9D0D6B8D}" type="presParOf" srcId="{58AA9A03-210D-4578-A296-A1D511C79BAC}" destId="{3D20D6D5-CB2A-4FD8-8A02-4CBAE6D30986}" srcOrd="0" destOrd="0" presId="urn:microsoft.com/office/officeart/2005/8/layout/orgChart1"/>
    <dgm:cxn modelId="{8579FCAD-C9E0-4C2F-820A-4D1EA2D4EFFF}" type="presParOf" srcId="{58AA9A03-210D-4578-A296-A1D511C79BAC}" destId="{8B94B0B0-A045-4682-A903-89880EC43062}" srcOrd="1" destOrd="0" presId="urn:microsoft.com/office/officeart/2005/8/layout/orgChart1"/>
    <dgm:cxn modelId="{7423D170-9E8D-4CE9-8532-3980C22DB816}" type="presParOf" srcId="{DFD22D27-3764-4CA2-B096-21DF26393BD4}" destId="{0C33098A-1235-4E7D-8915-AFA963EB0D56}" srcOrd="1" destOrd="0" presId="urn:microsoft.com/office/officeart/2005/8/layout/orgChart1"/>
    <dgm:cxn modelId="{C818400B-F0E4-46C7-B66C-37EA137E574A}" type="presParOf" srcId="{0C33098A-1235-4E7D-8915-AFA963EB0D56}" destId="{EC1D73F8-57E9-457F-8654-686756042FBD}" srcOrd="0" destOrd="0" presId="urn:microsoft.com/office/officeart/2005/8/layout/orgChart1"/>
    <dgm:cxn modelId="{3FFD838F-29A3-4EC3-80C5-DCE627264E22}" type="presParOf" srcId="{0C33098A-1235-4E7D-8915-AFA963EB0D56}" destId="{F36DA18F-26A3-4078-9C98-F3F4E8A353F7}" srcOrd="1" destOrd="0" presId="urn:microsoft.com/office/officeart/2005/8/layout/orgChart1"/>
    <dgm:cxn modelId="{4C4EA9A3-48D5-4004-ABB5-EE054218734D}" type="presParOf" srcId="{F36DA18F-26A3-4078-9C98-F3F4E8A353F7}" destId="{BADB6371-B89A-4B2C-AF93-121404DD68A7}" srcOrd="0" destOrd="0" presId="urn:microsoft.com/office/officeart/2005/8/layout/orgChart1"/>
    <dgm:cxn modelId="{79DF4E68-740C-4A29-BE68-D9915D493A77}" type="presParOf" srcId="{BADB6371-B89A-4B2C-AF93-121404DD68A7}" destId="{15AF2AF8-D5F0-498F-90EB-7B4704CB01AF}" srcOrd="0" destOrd="0" presId="urn:microsoft.com/office/officeart/2005/8/layout/orgChart1"/>
    <dgm:cxn modelId="{95622120-F2C0-4315-BEDC-28BBA16AE2F4}" type="presParOf" srcId="{BADB6371-B89A-4B2C-AF93-121404DD68A7}" destId="{02C4CFB1-59D2-4729-AA7C-CF68C37FF919}" srcOrd="1" destOrd="0" presId="urn:microsoft.com/office/officeart/2005/8/layout/orgChart1"/>
    <dgm:cxn modelId="{15B94AE0-C894-4360-B6ED-008EBB5F386F}" type="presParOf" srcId="{F36DA18F-26A3-4078-9C98-F3F4E8A353F7}" destId="{5024C93A-081A-491C-8EC4-AEFE818E283E}" srcOrd="1" destOrd="0" presId="urn:microsoft.com/office/officeart/2005/8/layout/orgChart1"/>
    <dgm:cxn modelId="{28042B11-20A3-4666-B3B4-80ED5FCDD670}" type="presParOf" srcId="{F36DA18F-26A3-4078-9C98-F3F4E8A353F7}" destId="{C1A2B2B3-AE3B-40CE-AB86-45DDF7B9BA72}" srcOrd="2" destOrd="0" presId="urn:microsoft.com/office/officeart/2005/8/layout/orgChart1"/>
    <dgm:cxn modelId="{5962DF0C-BE60-43A3-B580-7266E37A755D}" type="presParOf" srcId="{0C33098A-1235-4E7D-8915-AFA963EB0D56}" destId="{4FB7D99D-33FC-40B1-B378-A6CD35922869}" srcOrd="2" destOrd="0" presId="urn:microsoft.com/office/officeart/2005/8/layout/orgChart1"/>
    <dgm:cxn modelId="{1F93941C-3CDC-4383-9413-E5A7BB46FC47}" type="presParOf" srcId="{0C33098A-1235-4E7D-8915-AFA963EB0D56}" destId="{393E044A-EC03-4EA6-8A83-F425C4EB90B0}" srcOrd="3" destOrd="0" presId="urn:microsoft.com/office/officeart/2005/8/layout/orgChart1"/>
    <dgm:cxn modelId="{017BB4A1-162D-4B58-BF2C-364547D78F37}" type="presParOf" srcId="{393E044A-EC03-4EA6-8A83-F425C4EB90B0}" destId="{69100B25-913B-4A59-BC47-06D1E52E09D0}" srcOrd="0" destOrd="0" presId="urn:microsoft.com/office/officeart/2005/8/layout/orgChart1"/>
    <dgm:cxn modelId="{6F152D1E-8D31-4089-8E80-BB17525C14F9}" type="presParOf" srcId="{69100B25-913B-4A59-BC47-06D1E52E09D0}" destId="{85ABCF13-624C-447D-8FF5-0CE2E7720E42}" srcOrd="0" destOrd="0" presId="urn:microsoft.com/office/officeart/2005/8/layout/orgChart1"/>
    <dgm:cxn modelId="{BD62CD37-2D5A-4C03-9D06-6E1AD94B48AF}" type="presParOf" srcId="{69100B25-913B-4A59-BC47-06D1E52E09D0}" destId="{63D41D46-AC02-4BF1-94A7-5E086860FB7F}" srcOrd="1" destOrd="0" presId="urn:microsoft.com/office/officeart/2005/8/layout/orgChart1"/>
    <dgm:cxn modelId="{DC6B2A9E-45BF-4A40-8446-819906D61333}" type="presParOf" srcId="{393E044A-EC03-4EA6-8A83-F425C4EB90B0}" destId="{B8280FAA-ADC6-436D-9D7D-DF198B2E1D9D}" srcOrd="1" destOrd="0" presId="urn:microsoft.com/office/officeart/2005/8/layout/orgChart1"/>
    <dgm:cxn modelId="{7BE6C50C-4649-4C0A-9633-7730B5197064}" type="presParOf" srcId="{393E044A-EC03-4EA6-8A83-F425C4EB90B0}" destId="{3280F800-AE09-485D-9A29-8ED5910378E3}" srcOrd="2" destOrd="0" presId="urn:microsoft.com/office/officeart/2005/8/layout/orgChart1"/>
    <dgm:cxn modelId="{DC27ABDF-2917-410C-9CF7-16E64B5BEEA4}" type="presParOf" srcId="{0C33098A-1235-4E7D-8915-AFA963EB0D56}" destId="{B08448DC-351C-4B03-9C3B-2CBC8AADAC90}" srcOrd="4" destOrd="0" presId="urn:microsoft.com/office/officeart/2005/8/layout/orgChart1"/>
    <dgm:cxn modelId="{7959D785-5F31-4BBB-A343-601CA044DD64}" type="presParOf" srcId="{0C33098A-1235-4E7D-8915-AFA963EB0D56}" destId="{345CF527-03E6-480C-AB03-66BF200156D1}" srcOrd="5" destOrd="0" presId="urn:microsoft.com/office/officeart/2005/8/layout/orgChart1"/>
    <dgm:cxn modelId="{6750543C-628E-4941-BFE2-78C8584A909D}" type="presParOf" srcId="{345CF527-03E6-480C-AB03-66BF200156D1}" destId="{2D0CD864-AFD9-4856-98B8-D11A5F6F1B6A}" srcOrd="0" destOrd="0" presId="urn:microsoft.com/office/officeart/2005/8/layout/orgChart1"/>
    <dgm:cxn modelId="{619C0674-EC76-42B8-84E0-D51743ED1D12}" type="presParOf" srcId="{2D0CD864-AFD9-4856-98B8-D11A5F6F1B6A}" destId="{9FFF4862-2D69-492C-8F56-F0C1D1708546}" srcOrd="0" destOrd="0" presId="urn:microsoft.com/office/officeart/2005/8/layout/orgChart1"/>
    <dgm:cxn modelId="{714ED3D8-985A-4ABD-8A0D-3A32D8FA9A6F}" type="presParOf" srcId="{2D0CD864-AFD9-4856-98B8-D11A5F6F1B6A}" destId="{14B9B20F-EEAC-49AC-860E-E9C3552832C2}" srcOrd="1" destOrd="0" presId="urn:microsoft.com/office/officeart/2005/8/layout/orgChart1"/>
    <dgm:cxn modelId="{8AF694F5-10A0-4074-AD39-AD4585D77F96}" type="presParOf" srcId="{345CF527-03E6-480C-AB03-66BF200156D1}" destId="{E08185D8-2463-4EB5-9FA3-747727B27C7E}" srcOrd="1" destOrd="0" presId="urn:microsoft.com/office/officeart/2005/8/layout/orgChart1"/>
    <dgm:cxn modelId="{141F5653-D047-40D5-A193-6413C031C20D}" type="presParOf" srcId="{345CF527-03E6-480C-AB03-66BF200156D1}" destId="{81A6082A-4446-41C9-BE1F-89BFF025AE28}" srcOrd="2" destOrd="0" presId="urn:microsoft.com/office/officeart/2005/8/layout/orgChart1"/>
    <dgm:cxn modelId="{9B97A0DB-FEBA-4FAC-BEE3-80BE15914971}" type="presParOf" srcId="{0C33098A-1235-4E7D-8915-AFA963EB0D56}" destId="{F6798CCF-28BC-4A27-B715-F4CC0F797FAF}" srcOrd="6" destOrd="0" presId="urn:microsoft.com/office/officeart/2005/8/layout/orgChart1"/>
    <dgm:cxn modelId="{0BFC42BC-0CFC-4903-B6F4-1E86279A77A9}" type="presParOf" srcId="{0C33098A-1235-4E7D-8915-AFA963EB0D56}" destId="{E3595B41-F1EA-4239-BCE9-B93649BC9892}" srcOrd="7" destOrd="0" presId="urn:microsoft.com/office/officeart/2005/8/layout/orgChart1"/>
    <dgm:cxn modelId="{575330B8-6534-456A-8E9B-AA7871E7A6C8}" type="presParOf" srcId="{E3595B41-F1EA-4239-BCE9-B93649BC9892}" destId="{ACDE7B0D-E42F-4C9D-A476-4E8F3BA3D7B4}" srcOrd="0" destOrd="0" presId="urn:microsoft.com/office/officeart/2005/8/layout/orgChart1"/>
    <dgm:cxn modelId="{2E529EBE-B0BD-41D9-A934-315EE3825A50}" type="presParOf" srcId="{ACDE7B0D-E42F-4C9D-A476-4E8F3BA3D7B4}" destId="{EA703891-59A3-4402-9351-61C8ECB0EE88}" srcOrd="0" destOrd="0" presId="urn:microsoft.com/office/officeart/2005/8/layout/orgChart1"/>
    <dgm:cxn modelId="{0E812AD5-E428-40E8-AA49-ACDF65C916FA}" type="presParOf" srcId="{ACDE7B0D-E42F-4C9D-A476-4E8F3BA3D7B4}" destId="{E63178FE-4D58-419B-A8C9-74DAD9516F21}" srcOrd="1" destOrd="0" presId="urn:microsoft.com/office/officeart/2005/8/layout/orgChart1"/>
    <dgm:cxn modelId="{3B1654A3-3081-4DEF-84B1-E84BDE812604}" type="presParOf" srcId="{E3595B41-F1EA-4239-BCE9-B93649BC9892}" destId="{AA92F777-F97B-47D1-8CCD-352019F5C26E}" srcOrd="1" destOrd="0" presId="urn:microsoft.com/office/officeart/2005/8/layout/orgChart1"/>
    <dgm:cxn modelId="{959882E5-CBDB-4E86-8EB1-C42D33586313}" type="presParOf" srcId="{E3595B41-F1EA-4239-BCE9-B93649BC9892}" destId="{791AE345-F98B-4A18-A042-252ADF423185}" srcOrd="2" destOrd="0" presId="urn:microsoft.com/office/officeart/2005/8/layout/orgChart1"/>
    <dgm:cxn modelId="{34C4E947-5F12-4CE9-B105-77C145D5E31C}" type="presParOf" srcId="{0C33098A-1235-4E7D-8915-AFA963EB0D56}" destId="{1A834F76-1D49-4F9C-9A9B-722FDD68DB58}" srcOrd="8" destOrd="0" presId="urn:microsoft.com/office/officeart/2005/8/layout/orgChart1"/>
    <dgm:cxn modelId="{1ADC89DF-EE7F-4B21-939B-3B799C10378C}" type="presParOf" srcId="{0C33098A-1235-4E7D-8915-AFA963EB0D56}" destId="{D40281E0-08B9-40E5-930C-1028722D88DF}" srcOrd="9" destOrd="0" presId="urn:microsoft.com/office/officeart/2005/8/layout/orgChart1"/>
    <dgm:cxn modelId="{4B920C0F-8681-4492-87BF-3D85071FC457}" type="presParOf" srcId="{D40281E0-08B9-40E5-930C-1028722D88DF}" destId="{AA3E8930-311B-4605-B0BD-C8E613CDBA6C}" srcOrd="0" destOrd="0" presId="urn:microsoft.com/office/officeart/2005/8/layout/orgChart1"/>
    <dgm:cxn modelId="{AC6F2958-86AD-4B92-810D-B5714DC6E05A}" type="presParOf" srcId="{AA3E8930-311B-4605-B0BD-C8E613CDBA6C}" destId="{AECCE8B3-DA7B-4E76-B030-79E4CD768A70}" srcOrd="0" destOrd="0" presId="urn:microsoft.com/office/officeart/2005/8/layout/orgChart1"/>
    <dgm:cxn modelId="{21CA0EB8-2F55-4FF1-8EC4-BEDBCFF79A0E}" type="presParOf" srcId="{AA3E8930-311B-4605-B0BD-C8E613CDBA6C}" destId="{8DF8AE0C-89AC-401A-8557-0836A5A82525}" srcOrd="1" destOrd="0" presId="urn:microsoft.com/office/officeart/2005/8/layout/orgChart1"/>
    <dgm:cxn modelId="{AFD6975A-48DA-45FA-8966-152B5E0453D6}" type="presParOf" srcId="{D40281E0-08B9-40E5-930C-1028722D88DF}" destId="{3B76DEF5-551C-4C15-AF5D-D594ED0B4EAD}" srcOrd="1" destOrd="0" presId="urn:microsoft.com/office/officeart/2005/8/layout/orgChart1"/>
    <dgm:cxn modelId="{AA41D5E7-1B15-4215-8075-15285962FC1B}" type="presParOf" srcId="{D40281E0-08B9-40E5-930C-1028722D88DF}" destId="{A15BD53F-C98A-463C-9712-61DB06D719C7}" srcOrd="2" destOrd="0" presId="urn:microsoft.com/office/officeart/2005/8/layout/orgChart1"/>
    <dgm:cxn modelId="{A86EBB1E-6FC1-4525-831B-C6CFF59FE39E}" type="presParOf" srcId="{0C33098A-1235-4E7D-8915-AFA963EB0D56}" destId="{81EC3E32-9936-4258-BA62-6F3125D3B237}" srcOrd="10" destOrd="0" presId="urn:microsoft.com/office/officeart/2005/8/layout/orgChart1"/>
    <dgm:cxn modelId="{6985371F-5C58-49B7-9CC0-F643EAB1224B}" type="presParOf" srcId="{0C33098A-1235-4E7D-8915-AFA963EB0D56}" destId="{494F5940-2A27-42CB-9C8C-5D193B8E3332}" srcOrd="11" destOrd="0" presId="urn:microsoft.com/office/officeart/2005/8/layout/orgChart1"/>
    <dgm:cxn modelId="{17E8A47E-84DA-45EA-9C3F-3E59C5283AB5}" type="presParOf" srcId="{494F5940-2A27-42CB-9C8C-5D193B8E3332}" destId="{5F2F2916-F94D-447D-A41A-D30ED22DAF9C}" srcOrd="0" destOrd="0" presId="urn:microsoft.com/office/officeart/2005/8/layout/orgChart1"/>
    <dgm:cxn modelId="{DC6FBD6A-98D7-408B-8085-EDB5CC324AC9}" type="presParOf" srcId="{5F2F2916-F94D-447D-A41A-D30ED22DAF9C}" destId="{5198AF0E-3D25-4505-8815-4D02133E968A}" srcOrd="0" destOrd="0" presId="urn:microsoft.com/office/officeart/2005/8/layout/orgChart1"/>
    <dgm:cxn modelId="{12729F59-6559-4C47-B408-607C18933971}" type="presParOf" srcId="{5F2F2916-F94D-447D-A41A-D30ED22DAF9C}" destId="{7D9A8CB1-0CBA-42F7-9C9F-8DF225EEF363}" srcOrd="1" destOrd="0" presId="urn:microsoft.com/office/officeart/2005/8/layout/orgChart1"/>
    <dgm:cxn modelId="{916DC92F-26F1-42FF-AB45-C67A842492A0}" type="presParOf" srcId="{494F5940-2A27-42CB-9C8C-5D193B8E3332}" destId="{9BDD3803-6DB7-47AF-A5CF-F85FE242E4E4}" srcOrd="1" destOrd="0" presId="urn:microsoft.com/office/officeart/2005/8/layout/orgChart1"/>
    <dgm:cxn modelId="{3C8841A9-94EB-4990-A809-F20F0591A5C5}" type="presParOf" srcId="{494F5940-2A27-42CB-9C8C-5D193B8E3332}" destId="{C4E4A706-7B07-47D2-B868-05536D1C3EB9}" srcOrd="2" destOrd="0" presId="urn:microsoft.com/office/officeart/2005/8/layout/orgChart1"/>
    <dgm:cxn modelId="{AAB37298-37CE-4441-B2A4-B8B1BC6FF77F}" type="presParOf" srcId="{DFD22D27-3764-4CA2-B096-21DF26393BD4}" destId="{88F4D8B3-9B3B-4B58-985A-898FFA141EE3}" srcOrd="2" destOrd="0" presId="urn:microsoft.com/office/officeart/2005/8/layout/orgChart1"/>
    <dgm:cxn modelId="{CB554F8F-D6CC-4BAF-95F3-CC65D2297A18}" type="presParOf" srcId="{89DBECB9-24C9-4020-8CF4-9284AF9BDD80}" destId="{782F390F-3643-443C-9DED-152C7AA209BB}" srcOrd="2" destOrd="0" presId="urn:microsoft.com/office/officeart/2005/8/layout/orgChart1"/>
    <dgm:cxn modelId="{9C83334B-CE31-489A-AC69-9DA94BA764EE}" type="presParOf" srcId="{01A00BDB-6586-4895-A6FB-B925826E3598}" destId="{6E82193E-6543-4E49-84CB-9B5D897936A4}" srcOrd="2" destOrd="0" presId="urn:microsoft.com/office/officeart/2005/8/layout/orgChart1"/>
    <dgm:cxn modelId="{E0EC52E1-40BA-4126-81AF-05C3507161E4}" type="presParOf" srcId="{01A00BDB-6586-4895-A6FB-B925826E3598}" destId="{CCB2737F-91A8-4B4A-9647-72FFF91EE67B}" srcOrd="3" destOrd="0" presId="urn:microsoft.com/office/officeart/2005/8/layout/orgChart1"/>
    <dgm:cxn modelId="{2B48B893-F6D4-4976-8AC7-237B763A8D3C}" type="presParOf" srcId="{CCB2737F-91A8-4B4A-9647-72FFF91EE67B}" destId="{A32DED1E-AA8C-4443-A8B8-C74028D4C049}" srcOrd="0" destOrd="0" presId="urn:microsoft.com/office/officeart/2005/8/layout/orgChart1"/>
    <dgm:cxn modelId="{5128755E-9F76-45BD-8CE3-BBD0FE03EE3A}" type="presParOf" srcId="{A32DED1E-AA8C-4443-A8B8-C74028D4C049}" destId="{BA7F7D44-6199-4026-A414-99CBB0B6525A}" srcOrd="0" destOrd="0" presId="urn:microsoft.com/office/officeart/2005/8/layout/orgChart1"/>
    <dgm:cxn modelId="{E84DD55F-D183-488D-B3E0-591E9168DAFC}" type="presParOf" srcId="{A32DED1E-AA8C-4443-A8B8-C74028D4C049}" destId="{CAD708EC-D241-4DCA-A9E7-102D8408B684}" srcOrd="1" destOrd="0" presId="urn:microsoft.com/office/officeart/2005/8/layout/orgChart1"/>
    <dgm:cxn modelId="{120F8A03-2548-4A61-8835-5093CE9F0DF5}" type="presParOf" srcId="{CCB2737F-91A8-4B4A-9647-72FFF91EE67B}" destId="{0CAB6CC0-8EB8-495E-AA0F-DE90BA34CC65}" srcOrd="1" destOrd="0" presId="urn:microsoft.com/office/officeart/2005/8/layout/orgChart1"/>
    <dgm:cxn modelId="{C6242823-2BA3-4A07-B293-AC4A88E49FBB}" type="presParOf" srcId="{0CAB6CC0-8EB8-495E-AA0F-DE90BA34CC65}" destId="{95308955-17D6-43F3-99DD-85B0F457CC6A}" srcOrd="0" destOrd="0" presId="urn:microsoft.com/office/officeart/2005/8/layout/orgChart1"/>
    <dgm:cxn modelId="{AD1059E2-74A8-4EC2-86AF-7AA7375109A7}" type="presParOf" srcId="{0CAB6CC0-8EB8-495E-AA0F-DE90BA34CC65}" destId="{BF02387D-9603-48B9-80D4-7CC1B395F388}" srcOrd="1" destOrd="0" presId="urn:microsoft.com/office/officeart/2005/8/layout/orgChart1"/>
    <dgm:cxn modelId="{4E3E518E-5734-4C54-94F3-35A374214E6E}" type="presParOf" srcId="{BF02387D-9603-48B9-80D4-7CC1B395F388}" destId="{65A0286F-EB29-406D-8CE1-0923D5C32407}" srcOrd="0" destOrd="0" presId="urn:microsoft.com/office/officeart/2005/8/layout/orgChart1"/>
    <dgm:cxn modelId="{DDFAAEAB-EFA8-49D3-8F46-96CA77CB6CFD}" type="presParOf" srcId="{65A0286F-EB29-406D-8CE1-0923D5C32407}" destId="{E5A21C22-57A1-4FF6-8FF7-2D27BC5935DC}" srcOrd="0" destOrd="0" presId="urn:microsoft.com/office/officeart/2005/8/layout/orgChart1"/>
    <dgm:cxn modelId="{2C4DA611-081F-4103-B003-3195001B2F06}" type="presParOf" srcId="{65A0286F-EB29-406D-8CE1-0923D5C32407}" destId="{79144865-3B4A-444C-AEA8-09D3B2F37F0F}" srcOrd="1" destOrd="0" presId="urn:microsoft.com/office/officeart/2005/8/layout/orgChart1"/>
    <dgm:cxn modelId="{1991285D-1FEC-4DED-8A1B-6B173E566A2F}" type="presParOf" srcId="{BF02387D-9603-48B9-80D4-7CC1B395F388}" destId="{4C26B355-9DC2-466A-8FC3-2F8AC1F118ED}" srcOrd="1" destOrd="0" presId="urn:microsoft.com/office/officeart/2005/8/layout/orgChart1"/>
    <dgm:cxn modelId="{7CA8FF0C-37D6-4456-A545-1BBFFA0CA163}" type="presParOf" srcId="{BF02387D-9603-48B9-80D4-7CC1B395F388}" destId="{F07CA32F-02CF-426B-B580-0A590166208E}" srcOrd="2" destOrd="0" presId="urn:microsoft.com/office/officeart/2005/8/layout/orgChart1"/>
    <dgm:cxn modelId="{F9ACA743-460F-4B05-BA96-2B02ED5A70AA}" type="presParOf" srcId="{0CAB6CC0-8EB8-495E-AA0F-DE90BA34CC65}" destId="{26B8BE0C-B6B2-41D8-9DFA-F1DA7BCA117F}" srcOrd="2" destOrd="0" presId="urn:microsoft.com/office/officeart/2005/8/layout/orgChart1"/>
    <dgm:cxn modelId="{BA4496EC-874F-4993-94F5-B9CF27BB0666}" type="presParOf" srcId="{0CAB6CC0-8EB8-495E-AA0F-DE90BA34CC65}" destId="{AB1EF0A5-1D70-43F0-82CC-EF14CE76CFC0}" srcOrd="3" destOrd="0" presId="urn:microsoft.com/office/officeart/2005/8/layout/orgChart1"/>
    <dgm:cxn modelId="{FFA2DDF6-E501-434D-A2B4-C338585CADAC}" type="presParOf" srcId="{AB1EF0A5-1D70-43F0-82CC-EF14CE76CFC0}" destId="{41F6E431-DC8B-416E-A517-9DD10D1E79A3}" srcOrd="0" destOrd="0" presId="urn:microsoft.com/office/officeart/2005/8/layout/orgChart1"/>
    <dgm:cxn modelId="{5D2D594B-320E-4C94-BE27-55FC6D5FF773}" type="presParOf" srcId="{41F6E431-DC8B-416E-A517-9DD10D1E79A3}" destId="{E180F611-3F02-473E-B8B3-2F7FCC74AF64}" srcOrd="0" destOrd="0" presId="urn:microsoft.com/office/officeart/2005/8/layout/orgChart1"/>
    <dgm:cxn modelId="{E9F39436-EC82-42AD-A51A-49F7A1F40D88}" type="presParOf" srcId="{41F6E431-DC8B-416E-A517-9DD10D1E79A3}" destId="{D8C76C5F-CACD-4BE9-9210-01DA99ABE337}" srcOrd="1" destOrd="0" presId="urn:microsoft.com/office/officeart/2005/8/layout/orgChart1"/>
    <dgm:cxn modelId="{39EE802D-BC7B-432A-A450-CAC58ECA52E6}" type="presParOf" srcId="{AB1EF0A5-1D70-43F0-82CC-EF14CE76CFC0}" destId="{94DF78DD-6BB2-4482-A3AF-4FDE94ED955D}" srcOrd="1" destOrd="0" presId="urn:microsoft.com/office/officeart/2005/8/layout/orgChart1"/>
    <dgm:cxn modelId="{807A3D4B-92B2-4F88-A8F1-01B3FB36088C}" type="presParOf" srcId="{94DF78DD-6BB2-4482-A3AF-4FDE94ED955D}" destId="{6C59BE90-8A13-4704-9367-E91AC7A75F0B}" srcOrd="0" destOrd="0" presId="urn:microsoft.com/office/officeart/2005/8/layout/orgChart1"/>
    <dgm:cxn modelId="{F1DD0320-85DE-4177-B426-6135F9F7C8A5}" type="presParOf" srcId="{94DF78DD-6BB2-4482-A3AF-4FDE94ED955D}" destId="{0F770B02-F6D0-4D7B-AD59-E4DDAA7BBE25}" srcOrd="1" destOrd="0" presId="urn:microsoft.com/office/officeart/2005/8/layout/orgChart1"/>
    <dgm:cxn modelId="{5EADD843-5304-4621-8A15-744D2E8DC046}" type="presParOf" srcId="{0F770B02-F6D0-4D7B-AD59-E4DDAA7BBE25}" destId="{785C12E3-7B0C-4835-B07F-FD69D1AC0571}" srcOrd="0" destOrd="0" presId="urn:microsoft.com/office/officeart/2005/8/layout/orgChart1"/>
    <dgm:cxn modelId="{BF0E2424-8154-4C75-B5A7-B642D3E4B702}" type="presParOf" srcId="{785C12E3-7B0C-4835-B07F-FD69D1AC0571}" destId="{EF7362E5-E6E8-41B8-BEAF-EEAD6195ADB6}" srcOrd="0" destOrd="0" presId="urn:microsoft.com/office/officeart/2005/8/layout/orgChart1"/>
    <dgm:cxn modelId="{20F1CE52-2169-400C-8779-4869DDD3D63E}" type="presParOf" srcId="{785C12E3-7B0C-4835-B07F-FD69D1AC0571}" destId="{D8FC26CB-72A7-4E2F-A201-F28F11841DA8}" srcOrd="1" destOrd="0" presId="urn:microsoft.com/office/officeart/2005/8/layout/orgChart1"/>
    <dgm:cxn modelId="{DAAAAD28-AA16-4733-82E6-E2FB73490A18}" type="presParOf" srcId="{0F770B02-F6D0-4D7B-AD59-E4DDAA7BBE25}" destId="{668A6F47-67D9-43B5-A34A-5E43C24DFC0F}" srcOrd="1" destOrd="0" presId="urn:microsoft.com/office/officeart/2005/8/layout/orgChart1"/>
    <dgm:cxn modelId="{CE309737-01D3-48F7-9250-CA4D0E77ECCC}" type="presParOf" srcId="{0F770B02-F6D0-4D7B-AD59-E4DDAA7BBE25}" destId="{2CE67411-D5FF-4332-A41B-0D2F8BDC1639}" srcOrd="2" destOrd="0" presId="urn:microsoft.com/office/officeart/2005/8/layout/orgChart1"/>
    <dgm:cxn modelId="{252F3D9E-45FF-4F7B-BC7B-595902DCB19B}" type="presParOf" srcId="{94DF78DD-6BB2-4482-A3AF-4FDE94ED955D}" destId="{281EE699-AAC5-4334-987D-753B1F4AC9A0}" srcOrd="2" destOrd="0" presId="urn:microsoft.com/office/officeart/2005/8/layout/orgChart1"/>
    <dgm:cxn modelId="{3B453080-1631-4ECA-A6B6-D2704421EA31}" type="presParOf" srcId="{94DF78DD-6BB2-4482-A3AF-4FDE94ED955D}" destId="{95B9E142-D57D-4228-AF03-738B1632E56F}" srcOrd="3" destOrd="0" presId="urn:microsoft.com/office/officeart/2005/8/layout/orgChart1"/>
    <dgm:cxn modelId="{67055145-E220-4AE7-BD4E-1CC61CB9BCFF}" type="presParOf" srcId="{95B9E142-D57D-4228-AF03-738B1632E56F}" destId="{81E6054B-790D-4C44-8FD7-34D4BE71CA27}" srcOrd="0" destOrd="0" presId="urn:microsoft.com/office/officeart/2005/8/layout/orgChart1"/>
    <dgm:cxn modelId="{BC1D8CC1-E69C-4DCA-8791-C6DDF8CDB215}" type="presParOf" srcId="{81E6054B-790D-4C44-8FD7-34D4BE71CA27}" destId="{71B521A9-878F-41A1-8364-290A0A9B4615}" srcOrd="0" destOrd="0" presId="urn:microsoft.com/office/officeart/2005/8/layout/orgChart1"/>
    <dgm:cxn modelId="{60BBD477-2630-47F2-AC2A-C9191F66EC99}" type="presParOf" srcId="{81E6054B-790D-4C44-8FD7-34D4BE71CA27}" destId="{17B00065-1171-40DE-9B0F-689010D7168B}" srcOrd="1" destOrd="0" presId="urn:microsoft.com/office/officeart/2005/8/layout/orgChart1"/>
    <dgm:cxn modelId="{47AA3190-28C9-44F1-A776-218EC991B3F3}" type="presParOf" srcId="{95B9E142-D57D-4228-AF03-738B1632E56F}" destId="{404F5DF8-41AD-4139-99FE-8574824C2CB3}" srcOrd="1" destOrd="0" presId="urn:microsoft.com/office/officeart/2005/8/layout/orgChart1"/>
    <dgm:cxn modelId="{223D4AD3-C45C-46A7-A9C2-C3A5DEE2CC37}" type="presParOf" srcId="{95B9E142-D57D-4228-AF03-738B1632E56F}" destId="{6470222A-F503-4C23-9548-A2136684682A}" srcOrd="2" destOrd="0" presId="urn:microsoft.com/office/officeart/2005/8/layout/orgChart1"/>
    <dgm:cxn modelId="{3D3C672A-AB09-41CF-BBCC-F3BC3953A81F}" type="presParOf" srcId="{94DF78DD-6BB2-4482-A3AF-4FDE94ED955D}" destId="{609D9515-FD68-488F-BAB0-2D65B595BA72}" srcOrd="4" destOrd="0" presId="urn:microsoft.com/office/officeart/2005/8/layout/orgChart1"/>
    <dgm:cxn modelId="{5EAF396E-ABD4-4A84-B062-B90474967364}" type="presParOf" srcId="{94DF78DD-6BB2-4482-A3AF-4FDE94ED955D}" destId="{98C5906E-33D2-46DE-9D4E-97B6C073748D}" srcOrd="5" destOrd="0" presId="urn:microsoft.com/office/officeart/2005/8/layout/orgChart1"/>
    <dgm:cxn modelId="{E0934D4D-4628-421F-9633-29FBF3DCB6BA}" type="presParOf" srcId="{98C5906E-33D2-46DE-9D4E-97B6C073748D}" destId="{BEA75AD3-7E2F-4F0F-B610-5F51985F5B4D}" srcOrd="0" destOrd="0" presId="urn:microsoft.com/office/officeart/2005/8/layout/orgChart1"/>
    <dgm:cxn modelId="{8A1A9785-C6AC-4501-8C57-664719D47F01}" type="presParOf" srcId="{BEA75AD3-7E2F-4F0F-B610-5F51985F5B4D}" destId="{FB709349-E6D3-41D4-81B7-0F67304A6EFE}" srcOrd="0" destOrd="0" presId="urn:microsoft.com/office/officeart/2005/8/layout/orgChart1"/>
    <dgm:cxn modelId="{C6C3BCB9-EF63-4C46-89DD-61034B3EBC47}" type="presParOf" srcId="{BEA75AD3-7E2F-4F0F-B610-5F51985F5B4D}" destId="{790C1FBB-4319-4B98-A874-713788B861D2}" srcOrd="1" destOrd="0" presId="urn:microsoft.com/office/officeart/2005/8/layout/orgChart1"/>
    <dgm:cxn modelId="{26F32AB1-8E2F-49EB-8EAA-BAA8F552CBC4}" type="presParOf" srcId="{98C5906E-33D2-46DE-9D4E-97B6C073748D}" destId="{5647D0D9-2DCD-45ED-9A48-FD61173D6EB6}" srcOrd="1" destOrd="0" presId="urn:microsoft.com/office/officeart/2005/8/layout/orgChart1"/>
    <dgm:cxn modelId="{DC2A0D55-B23D-4D5A-82F4-831DFDA79840}" type="presParOf" srcId="{98C5906E-33D2-46DE-9D4E-97B6C073748D}" destId="{12F11F38-F95D-4B7E-BBAA-E023980C9456}" srcOrd="2" destOrd="0" presId="urn:microsoft.com/office/officeart/2005/8/layout/orgChart1"/>
    <dgm:cxn modelId="{8C235E1C-6D8C-4C21-9215-975589F1ABBC}" type="presParOf" srcId="{94DF78DD-6BB2-4482-A3AF-4FDE94ED955D}" destId="{CB2A7D91-AEA7-4DBA-86ED-7C04CF0853E4}" srcOrd="6" destOrd="0" presId="urn:microsoft.com/office/officeart/2005/8/layout/orgChart1"/>
    <dgm:cxn modelId="{365A9970-7558-4549-892F-D7A0EB03835C}" type="presParOf" srcId="{94DF78DD-6BB2-4482-A3AF-4FDE94ED955D}" destId="{194B7055-162D-4894-BCA3-85D7093BB6A5}" srcOrd="7" destOrd="0" presId="urn:microsoft.com/office/officeart/2005/8/layout/orgChart1"/>
    <dgm:cxn modelId="{B4CFEF1F-72F0-4762-9DD8-A09D038A6F22}" type="presParOf" srcId="{194B7055-162D-4894-BCA3-85D7093BB6A5}" destId="{F6E77B86-AA89-46C4-B178-D940D581777E}" srcOrd="0" destOrd="0" presId="urn:microsoft.com/office/officeart/2005/8/layout/orgChart1"/>
    <dgm:cxn modelId="{6F03B85C-7D2F-4F1A-A83C-814EF355974C}" type="presParOf" srcId="{F6E77B86-AA89-46C4-B178-D940D581777E}" destId="{A588C842-F20A-4AA8-85DA-6ACC4DA2A93E}" srcOrd="0" destOrd="0" presId="urn:microsoft.com/office/officeart/2005/8/layout/orgChart1"/>
    <dgm:cxn modelId="{DBCAB531-0B3E-4A63-89E8-5D3E07ED3E6E}" type="presParOf" srcId="{F6E77B86-AA89-46C4-B178-D940D581777E}" destId="{FA714205-4B82-446D-B68E-7F652DFBEEDA}" srcOrd="1" destOrd="0" presId="urn:microsoft.com/office/officeart/2005/8/layout/orgChart1"/>
    <dgm:cxn modelId="{8A9D66A8-AF2F-44D3-A577-6CD6897935C9}" type="presParOf" srcId="{194B7055-162D-4894-BCA3-85D7093BB6A5}" destId="{254E1AFD-68D8-4CBA-BAAB-6F6D0100BF33}" srcOrd="1" destOrd="0" presId="urn:microsoft.com/office/officeart/2005/8/layout/orgChart1"/>
    <dgm:cxn modelId="{CFA364C8-71B4-4466-8D49-5C712D066684}" type="presParOf" srcId="{194B7055-162D-4894-BCA3-85D7093BB6A5}" destId="{CFC8C733-7AB4-49EB-BB58-6B6F51F07E9E}" srcOrd="2" destOrd="0" presId="urn:microsoft.com/office/officeart/2005/8/layout/orgChart1"/>
    <dgm:cxn modelId="{2B580662-EA0B-4DFA-89FD-3766973AC9AA}" type="presParOf" srcId="{AB1EF0A5-1D70-43F0-82CC-EF14CE76CFC0}" destId="{B3E393F5-FE99-47D6-B42A-2E679DAAB0C6}" srcOrd="2" destOrd="0" presId="urn:microsoft.com/office/officeart/2005/8/layout/orgChart1"/>
    <dgm:cxn modelId="{3BC878EA-4AF8-498D-B0EA-0CD631AABDBB}" type="presParOf" srcId="{0CAB6CC0-8EB8-495E-AA0F-DE90BA34CC65}" destId="{CFA625AD-9497-48AF-9C6C-5957C633070F}" srcOrd="4" destOrd="0" presId="urn:microsoft.com/office/officeart/2005/8/layout/orgChart1"/>
    <dgm:cxn modelId="{129A7F75-9F98-4953-ACAA-7A81BB2CCF5A}" type="presParOf" srcId="{0CAB6CC0-8EB8-495E-AA0F-DE90BA34CC65}" destId="{8C753FFB-9089-4CFE-B9BC-64EB0D9BBF3C}" srcOrd="5" destOrd="0" presId="urn:microsoft.com/office/officeart/2005/8/layout/orgChart1"/>
    <dgm:cxn modelId="{4C5758B5-D68F-4647-9557-FD2AD47FBA5C}" type="presParOf" srcId="{8C753FFB-9089-4CFE-B9BC-64EB0D9BBF3C}" destId="{F4E836A5-8064-46CB-AF76-DCDACFBED23E}" srcOrd="0" destOrd="0" presId="urn:microsoft.com/office/officeart/2005/8/layout/orgChart1"/>
    <dgm:cxn modelId="{30B2DA3C-1D25-4093-9CF1-232762EB20D3}" type="presParOf" srcId="{F4E836A5-8064-46CB-AF76-DCDACFBED23E}" destId="{E46FED4D-3C12-4A9A-8E18-C8A5D62B5747}" srcOrd="0" destOrd="0" presId="urn:microsoft.com/office/officeart/2005/8/layout/orgChart1"/>
    <dgm:cxn modelId="{5DE80476-BA02-478A-BB4D-27485D9BA96E}" type="presParOf" srcId="{F4E836A5-8064-46CB-AF76-DCDACFBED23E}" destId="{752354B9-535E-4F50-8E38-3DC6C7A96331}" srcOrd="1" destOrd="0" presId="urn:microsoft.com/office/officeart/2005/8/layout/orgChart1"/>
    <dgm:cxn modelId="{E6F8C508-3E52-49C8-905E-DBF24015C945}" type="presParOf" srcId="{8C753FFB-9089-4CFE-B9BC-64EB0D9BBF3C}" destId="{9E9C241D-4509-4336-9D87-17E8349BFD3D}" srcOrd="1" destOrd="0" presId="urn:microsoft.com/office/officeart/2005/8/layout/orgChart1"/>
    <dgm:cxn modelId="{B962F15D-04A8-4B0C-9874-028664E97BC8}" type="presParOf" srcId="{9E9C241D-4509-4336-9D87-17E8349BFD3D}" destId="{FBFD23C5-1602-4A2F-AD09-F68FE1E1AEEE}" srcOrd="0" destOrd="0" presId="urn:microsoft.com/office/officeart/2005/8/layout/orgChart1"/>
    <dgm:cxn modelId="{030DFA03-E72C-420C-9C76-32AC85A1011C}" type="presParOf" srcId="{9E9C241D-4509-4336-9D87-17E8349BFD3D}" destId="{F07F6452-B2BC-410B-8B64-CD15C5F817A3}" srcOrd="1" destOrd="0" presId="urn:microsoft.com/office/officeart/2005/8/layout/orgChart1"/>
    <dgm:cxn modelId="{8A6F7F71-BC90-4B17-BA4A-841677953916}" type="presParOf" srcId="{F07F6452-B2BC-410B-8B64-CD15C5F817A3}" destId="{B13BAC62-D2A4-4E47-837E-0012EA7255A2}" srcOrd="0" destOrd="0" presId="urn:microsoft.com/office/officeart/2005/8/layout/orgChart1"/>
    <dgm:cxn modelId="{3DB8A821-B8C4-456E-BF3A-25885337DC7B}" type="presParOf" srcId="{B13BAC62-D2A4-4E47-837E-0012EA7255A2}" destId="{10893535-E133-4731-B500-FBF09351815B}" srcOrd="0" destOrd="0" presId="urn:microsoft.com/office/officeart/2005/8/layout/orgChart1"/>
    <dgm:cxn modelId="{0D92A8E8-7FA7-46A2-801D-D86930077BE3}" type="presParOf" srcId="{B13BAC62-D2A4-4E47-837E-0012EA7255A2}" destId="{02FD715C-0AB6-451C-8869-4951DD781340}" srcOrd="1" destOrd="0" presId="urn:microsoft.com/office/officeart/2005/8/layout/orgChart1"/>
    <dgm:cxn modelId="{17639DB4-5BBC-4E42-84E1-C630FF7E3CFB}" type="presParOf" srcId="{F07F6452-B2BC-410B-8B64-CD15C5F817A3}" destId="{29BD2C48-5DD0-4DA0-8A01-DEFBFD05A0DC}" srcOrd="1" destOrd="0" presId="urn:microsoft.com/office/officeart/2005/8/layout/orgChart1"/>
    <dgm:cxn modelId="{23E7A342-656D-444F-95DA-C4BA54BCE13D}" type="presParOf" srcId="{F07F6452-B2BC-410B-8B64-CD15C5F817A3}" destId="{5E1CB73C-B68D-44C0-8942-A3C1E8734B65}" srcOrd="2" destOrd="0" presId="urn:microsoft.com/office/officeart/2005/8/layout/orgChart1"/>
    <dgm:cxn modelId="{6115E8E9-5DD0-433D-BCBD-F5300A065502}" type="presParOf" srcId="{9E9C241D-4509-4336-9D87-17E8349BFD3D}" destId="{88564183-0CC7-4C92-BE75-FB1FDE2DB88B}" srcOrd="2" destOrd="0" presId="urn:microsoft.com/office/officeart/2005/8/layout/orgChart1"/>
    <dgm:cxn modelId="{1A8CA2F5-3FA7-4BC7-9412-8A709FAC1CF0}" type="presParOf" srcId="{9E9C241D-4509-4336-9D87-17E8349BFD3D}" destId="{B6322A0D-4E89-45E2-A6BE-BD8E4882D23F}" srcOrd="3" destOrd="0" presId="urn:microsoft.com/office/officeart/2005/8/layout/orgChart1"/>
    <dgm:cxn modelId="{8E218BBD-5271-4F10-93D4-3B2AF5571F96}" type="presParOf" srcId="{B6322A0D-4E89-45E2-A6BE-BD8E4882D23F}" destId="{12897839-7BAC-4605-9AAA-19E700A97FE0}" srcOrd="0" destOrd="0" presId="urn:microsoft.com/office/officeart/2005/8/layout/orgChart1"/>
    <dgm:cxn modelId="{F5DF3650-E803-4F0A-979F-59A2D4C51C8B}" type="presParOf" srcId="{12897839-7BAC-4605-9AAA-19E700A97FE0}" destId="{CD140378-386D-4430-9B29-B12CE2D6642D}" srcOrd="0" destOrd="0" presId="urn:microsoft.com/office/officeart/2005/8/layout/orgChart1"/>
    <dgm:cxn modelId="{211A1D60-CB76-4A60-BA65-E3F7A12FDF39}" type="presParOf" srcId="{12897839-7BAC-4605-9AAA-19E700A97FE0}" destId="{9922B4C0-BC02-4390-A8A7-3FC24BEE6EB1}" srcOrd="1" destOrd="0" presId="urn:microsoft.com/office/officeart/2005/8/layout/orgChart1"/>
    <dgm:cxn modelId="{5EC9295C-E8C6-4B7A-A247-BC0E8F1A501F}" type="presParOf" srcId="{B6322A0D-4E89-45E2-A6BE-BD8E4882D23F}" destId="{2B626E0D-4038-4F9C-B0CF-E811F620E6A5}" srcOrd="1" destOrd="0" presId="urn:microsoft.com/office/officeart/2005/8/layout/orgChart1"/>
    <dgm:cxn modelId="{04E23C6A-65A0-4B52-BBE6-82C4FE939E27}" type="presParOf" srcId="{B6322A0D-4E89-45E2-A6BE-BD8E4882D23F}" destId="{B0188713-7CA8-4818-AB97-7C0B2D09FF2D}" srcOrd="2" destOrd="0" presId="urn:microsoft.com/office/officeart/2005/8/layout/orgChart1"/>
    <dgm:cxn modelId="{AEB34246-9F29-4E7C-BC0C-AE76F9737C14}" type="presParOf" srcId="{9E9C241D-4509-4336-9D87-17E8349BFD3D}" destId="{61797818-CEEC-4010-8640-642C09CE825D}" srcOrd="4" destOrd="0" presId="urn:microsoft.com/office/officeart/2005/8/layout/orgChart1"/>
    <dgm:cxn modelId="{34F52E27-20C8-494C-8AD6-06EE3D7480C8}" type="presParOf" srcId="{9E9C241D-4509-4336-9D87-17E8349BFD3D}" destId="{6052B995-86E7-417F-98C4-842F053A3C66}" srcOrd="5" destOrd="0" presId="urn:microsoft.com/office/officeart/2005/8/layout/orgChart1"/>
    <dgm:cxn modelId="{389C2918-16BE-4B65-8AA4-6B52967B6EFE}" type="presParOf" srcId="{6052B995-86E7-417F-98C4-842F053A3C66}" destId="{2542807D-F24E-4088-851A-73705021F92E}" srcOrd="0" destOrd="0" presId="urn:microsoft.com/office/officeart/2005/8/layout/orgChart1"/>
    <dgm:cxn modelId="{DFB683F3-7872-4D25-BBAB-FC7F7077F628}" type="presParOf" srcId="{2542807D-F24E-4088-851A-73705021F92E}" destId="{4E3B5942-48DC-4E61-A9E8-CBF6E9B1B977}" srcOrd="0" destOrd="0" presId="urn:microsoft.com/office/officeart/2005/8/layout/orgChart1"/>
    <dgm:cxn modelId="{C6ED4585-F90A-4E1F-BACE-B80AC599D36E}" type="presParOf" srcId="{2542807D-F24E-4088-851A-73705021F92E}" destId="{D1C6E5F2-957F-4A86-84F2-A5705BB91D62}" srcOrd="1" destOrd="0" presId="urn:microsoft.com/office/officeart/2005/8/layout/orgChart1"/>
    <dgm:cxn modelId="{D36689DE-EE8F-434D-AEB1-A3FA1BC5BF41}" type="presParOf" srcId="{6052B995-86E7-417F-98C4-842F053A3C66}" destId="{1986724B-73DA-4153-AF4E-21046FE12271}" srcOrd="1" destOrd="0" presId="urn:microsoft.com/office/officeart/2005/8/layout/orgChart1"/>
    <dgm:cxn modelId="{64058EFB-D03C-4303-B85D-6C42CB997698}" type="presParOf" srcId="{6052B995-86E7-417F-98C4-842F053A3C66}" destId="{E54F4674-BDA0-4A27-9A2F-2327E8FB5042}" srcOrd="2" destOrd="0" presId="urn:microsoft.com/office/officeart/2005/8/layout/orgChart1"/>
    <dgm:cxn modelId="{02DE0545-D455-47F0-B2FC-BBD6D2DF3571}" type="presParOf" srcId="{9E9C241D-4509-4336-9D87-17E8349BFD3D}" destId="{E5E98410-234D-44E6-98BF-7874D840463A}" srcOrd="6" destOrd="0" presId="urn:microsoft.com/office/officeart/2005/8/layout/orgChart1"/>
    <dgm:cxn modelId="{020FDE91-659F-413E-82E3-63E64A2D0DA8}" type="presParOf" srcId="{9E9C241D-4509-4336-9D87-17E8349BFD3D}" destId="{72B8C88F-27F8-4D35-A29D-6A25DC1FD0BA}" srcOrd="7" destOrd="0" presId="urn:microsoft.com/office/officeart/2005/8/layout/orgChart1"/>
    <dgm:cxn modelId="{37D7E817-A95B-488C-91DB-1585B7757B9B}" type="presParOf" srcId="{72B8C88F-27F8-4D35-A29D-6A25DC1FD0BA}" destId="{0D0ACDCE-850F-479A-A565-85F4BF3BDFF9}" srcOrd="0" destOrd="0" presId="urn:microsoft.com/office/officeart/2005/8/layout/orgChart1"/>
    <dgm:cxn modelId="{BEC5B8A4-7C78-43B6-9ABF-0BE171A585D8}" type="presParOf" srcId="{0D0ACDCE-850F-479A-A565-85F4BF3BDFF9}" destId="{1C01B158-6877-41F6-B07E-1C9B8910083F}" srcOrd="0" destOrd="0" presId="urn:microsoft.com/office/officeart/2005/8/layout/orgChart1"/>
    <dgm:cxn modelId="{A182F274-75AA-4CE6-9C9A-894E9031FCB7}" type="presParOf" srcId="{0D0ACDCE-850F-479A-A565-85F4BF3BDFF9}" destId="{557C00F6-D5CE-41A2-9D30-B1571F02F3F3}" srcOrd="1" destOrd="0" presId="urn:microsoft.com/office/officeart/2005/8/layout/orgChart1"/>
    <dgm:cxn modelId="{DB70B13F-AB6B-4C05-9631-E840D05459AD}" type="presParOf" srcId="{72B8C88F-27F8-4D35-A29D-6A25DC1FD0BA}" destId="{4D237B38-E05F-4F82-9D23-0DC80F257684}" srcOrd="1" destOrd="0" presId="urn:microsoft.com/office/officeart/2005/8/layout/orgChart1"/>
    <dgm:cxn modelId="{DBB48CBC-34D6-479F-9852-A0E556DC8775}" type="presParOf" srcId="{72B8C88F-27F8-4D35-A29D-6A25DC1FD0BA}" destId="{B85E4D0E-C449-443B-BDCC-FF6086E043F4}" srcOrd="2" destOrd="0" presId="urn:microsoft.com/office/officeart/2005/8/layout/orgChart1"/>
    <dgm:cxn modelId="{D167283A-C011-4BFB-90DD-C8F894D2B190}" type="presParOf" srcId="{8C753FFB-9089-4CFE-B9BC-64EB0D9BBF3C}" destId="{CE111412-AA04-4C59-B715-95C717FC88B5}" srcOrd="2" destOrd="0" presId="urn:microsoft.com/office/officeart/2005/8/layout/orgChart1"/>
    <dgm:cxn modelId="{7BB2DE09-0487-4363-85C8-69C8827F6B99}" type="presParOf" srcId="{CCB2737F-91A8-4B4A-9647-72FFF91EE67B}" destId="{FBA31FB0-49C3-486D-B41C-E9FC4CF6FA16}" srcOrd="2" destOrd="0" presId="urn:microsoft.com/office/officeart/2005/8/layout/orgChart1"/>
    <dgm:cxn modelId="{7285FC27-5D1D-462F-A1F3-8441EDECDE33}" type="presParOf" srcId="{0F5952D4-AD10-48F1-836D-D3FB1DE8A604}" destId="{8A30CBEF-0C71-42E7-9585-C38820539221}" srcOrd="2" destOrd="0" presId="urn:microsoft.com/office/officeart/2005/8/layout/orgChart1"/>
    <dgm:cxn modelId="{F3DB0B81-CEC8-46A8-8D71-120F89EEBC28}" type="presParOf" srcId="{8A30CBEF-0C71-42E7-9585-C38820539221}" destId="{5C6D68FB-70A8-45BA-B78F-9E58FDC420DB}" srcOrd="0" destOrd="0" presId="urn:microsoft.com/office/officeart/2005/8/layout/orgChart1"/>
    <dgm:cxn modelId="{F37F15FE-4B9B-4896-ACEE-65B3E73A6309}" type="presParOf" srcId="{8A30CBEF-0C71-42E7-9585-C38820539221}" destId="{4D842C40-CA66-4BDB-87C5-C16309676D20}" srcOrd="1" destOrd="0" presId="urn:microsoft.com/office/officeart/2005/8/layout/orgChart1"/>
    <dgm:cxn modelId="{E394665A-A7D2-419B-8902-4DD3D47EB465}" type="presParOf" srcId="{4D842C40-CA66-4BDB-87C5-C16309676D20}" destId="{F7B9DB1E-F97E-4731-98EE-A21955245CBA}" srcOrd="0" destOrd="0" presId="urn:microsoft.com/office/officeart/2005/8/layout/orgChart1"/>
    <dgm:cxn modelId="{3583A712-CFC2-4343-A503-8DE5ED545B8E}" type="presParOf" srcId="{F7B9DB1E-F97E-4731-98EE-A21955245CBA}" destId="{5382A9A8-49AE-4BE7-9E65-440A0FF06898}" srcOrd="0" destOrd="0" presId="urn:microsoft.com/office/officeart/2005/8/layout/orgChart1"/>
    <dgm:cxn modelId="{941D57BD-3BF6-4538-813B-AC709B0F6D0A}" type="presParOf" srcId="{F7B9DB1E-F97E-4731-98EE-A21955245CBA}" destId="{834F9622-21F0-4ECB-9E40-25FD850DEA55}" srcOrd="1" destOrd="0" presId="urn:microsoft.com/office/officeart/2005/8/layout/orgChart1"/>
    <dgm:cxn modelId="{8E98E8BB-F1CC-4FBD-9BBA-21F0F47B3133}" type="presParOf" srcId="{4D842C40-CA66-4BDB-87C5-C16309676D20}" destId="{37D67402-E3CF-4BFF-87E3-746076AAB5D2}" srcOrd="1" destOrd="0" presId="urn:microsoft.com/office/officeart/2005/8/layout/orgChart1"/>
    <dgm:cxn modelId="{65C75D6F-D453-4030-AB40-A0285CB4905C}" type="presParOf" srcId="{4D842C40-CA66-4BDB-87C5-C16309676D20}" destId="{3011ACFD-822A-4B85-A130-421CE1C3B9F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F832AFC-3F8E-4FC2-A2C2-34B65B63776D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F791D8-DB8B-4941-8E11-8F020F632050}">
      <dgm:prSet phldrT="[Text]" custT="1"/>
      <dgm:spPr/>
      <dgm:t>
        <a:bodyPr/>
        <a:lstStyle/>
        <a:p>
          <a:r>
            <a:rPr lang="en-US" sz="1000" dirty="0"/>
            <a:t>Super</a:t>
          </a:r>
        </a:p>
      </dgm:t>
    </dgm:pt>
    <dgm:pt modelId="{85E4676F-DFDF-4B20-B1C3-60B5AF43D2D4}" type="parTrans" cxnId="{B8CB8401-1370-4390-8E1A-414269CECE53}">
      <dgm:prSet/>
      <dgm:spPr/>
      <dgm:t>
        <a:bodyPr/>
        <a:lstStyle/>
        <a:p>
          <a:endParaRPr lang="en-US" sz="1000"/>
        </a:p>
      </dgm:t>
    </dgm:pt>
    <dgm:pt modelId="{77A6B923-6F69-4B1D-A772-95BD5AFF3497}" type="sibTrans" cxnId="{B8CB8401-1370-4390-8E1A-414269CECE53}">
      <dgm:prSet/>
      <dgm:spPr/>
      <dgm:t>
        <a:bodyPr/>
        <a:lstStyle/>
        <a:p>
          <a:endParaRPr lang="en-US" sz="1000"/>
        </a:p>
      </dgm:t>
    </dgm:pt>
    <dgm:pt modelId="{54888C6A-2E62-42EC-ABE3-0DF87A629214}">
      <dgm:prSet phldrT="[Text]" custT="1"/>
      <dgm:spPr/>
      <dgm:t>
        <a:bodyPr/>
        <a:lstStyle/>
        <a:p>
          <a:r>
            <a:rPr lang="en-US" sz="1000" dirty="0"/>
            <a:t>Super</a:t>
          </a:r>
        </a:p>
      </dgm:t>
    </dgm:pt>
    <dgm:pt modelId="{50F89145-1688-493A-881E-D47538A1E55B}" type="parTrans" cxnId="{CEFFBF50-3322-4AB4-A579-8B6C9E15D5F0}">
      <dgm:prSet/>
      <dgm:spPr/>
      <dgm:t>
        <a:bodyPr/>
        <a:lstStyle/>
        <a:p>
          <a:endParaRPr lang="en-US" sz="1000"/>
        </a:p>
      </dgm:t>
    </dgm:pt>
    <dgm:pt modelId="{DF79CE5F-32B9-472B-A50D-90CB7FC56198}" type="sibTrans" cxnId="{CEFFBF50-3322-4AB4-A579-8B6C9E15D5F0}">
      <dgm:prSet/>
      <dgm:spPr/>
      <dgm:t>
        <a:bodyPr/>
        <a:lstStyle/>
        <a:p>
          <a:endParaRPr lang="en-US" sz="1000"/>
        </a:p>
      </dgm:t>
    </dgm:pt>
    <dgm:pt modelId="{DBDCEDFB-608B-4A42-8D1C-E32FF44E1AA3}">
      <dgm:prSet phldrT="[Text]" custT="1"/>
      <dgm:spPr/>
      <dgm:t>
        <a:bodyPr/>
        <a:lstStyle/>
        <a:p>
          <a:r>
            <a:rPr lang="en-US" sz="1000" dirty="0"/>
            <a:t>Foreman</a:t>
          </a:r>
        </a:p>
      </dgm:t>
    </dgm:pt>
    <dgm:pt modelId="{FC5B815B-FF58-4D5A-AAF8-9B53BC2C56D1}" type="parTrans" cxnId="{FC8C7DBA-41E4-468A-A79F-12AF63A32C8E}">
      <dgm:prSet/>
      <dgm:spPr/>
      <dgm:t>
        <a:bodyPr/>
        <a:lstStyle/>
        <a:p>
          <a:endParaRPr lang="en-US" sz="1000"/>
        </a:p>
      </dgm:t>
    </dgm:pt>
    <dgm:pt modelId="{799995E3-253C-4662-A9BD-72528A34F37D}" type="sibTrans" cxnId="{FC8C7DBA-41E4-468A-A79F-12AF63A32C8E}">
      <dgm:prSet/>
      <dgm:spPr/>
      <dgm:t>
        <a:bodyPr/>
        <a:lstStyle/>
        <a:p>
          <a:endParaRPr lang="en-US" sz="1000"/>
        </a:p>
      </dgm:t>
    </dgm:pt>
    <dgm:pt modelId="{4DC35318-58C7-4147-8858-E425136D1683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DF6A2EB0-C2F6-4627-BDB3-F3F1C0532CDD}" type="parTrans" cxnId="{93287186-847A-4C4C-B33E-0E5A7121DC5E}">
      <dgm:prSet/>
      <dgm:spPr/>
      <dgm:t>
        <a:bodyPr/>
        <a:lstStyle/>
        <a:p>
          <a:endParaRPr lang="en-US" sz="1000"/>
        </a:p>
      </dgm:t>
    </dgm:pt>
    <dgm:pt modelId="{1F629A39-7A34-414A-8E5C-F51172420AC2}" type="sibTrans" cxnId="{93287186-847A-4C4C-B33E-0E5A7121DC5E}">
      <dgm:prSet/>
      <dgm:spPr/>
      <dgm:t>
        <a:bodyPr/>
        <a:lstStyle/>
        <a:p>
          <a:endParaRPr lang="en-US" sz="1000"/>
        </a:p>
      </dgm:t>
    </dgm:pt>
    <dgm:pt modelId="{4C4BD85B-0727-42BB-9783-8216A795E60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0C92A346-77A6-40EF-901B-1E483C88E84C}" type="parTrans" cxnId="{25E72224-7A7F-496E-966B-6F89D4727201}">
      <dgm:prSet/>
      <dgm:spPr/>
      <dgm:t>
        <a:bodyPr/>
        <a:lstStyle/>
        <a:p>
          <a:endParaRPr lang="en-US" sz="1000"/>
        </a:p>
      </dgm:t>
    </dgm:pt>
    <dgm:pt modelId="{7A8C9B87-E18B-4B4C-B0D5-A7ED305525E9}" type="sibTrans" cxnId="{25E72224-7A7F-496E-966B-6F89D4727201}">
      <dgm:prSet/>
      <dgm:spPr/>
      <dgm:t>
        <a:bodyPr/>
        <a:lstStyle/>
        <a:p>
          <a:endParaRPr lang="en-US" sz="1000"/>
        </a:p>
      </dgm:t>
    </dgm:pt>
    <dgm:pt modelId="{36D2158B-93CC-43DE-AB88-9EFEF1C7063B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EE3A1FAB-7C4B-4877-92C0-F65374159DFF}" type="parTrans" cxnId="{BBA31969-0DB4-4663-8F52-CB073C653E57}">
      <dgm:prSet/>
      <dgm:spPr/>
      <dgm:t>
        <a:bodyPr/>
        <a:lstStyle/>
        <a:p>
          <a:endParaRPr lang="en-US" sz="1000"/>
        </a:p>
      </dgm:t>
    </dgm:pt>
    <dgm:pt modelId="{463DF148-6072-4495-8955-D65D1677D418}" type="sibTrans" cxnId="{BBA31969-0DB4-4663-8F52-CB073C653E57}">
      <dgm:prSet/>
      <dgm:spPr/>
      <dgm:t>
        <a:bodyPr/>
        <a:lstStyle/>
        <a:p>
          <a:endParaRPr lang="en-US" sz="1000"/>
        </a:p>
      </dgm:t>
    </dgm:pt>
    <dgm:pt modelId="{A49BBB18-A6FD-44E5-A65B-0C9981C38114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D96AFAE7-FE68-40D8-82B7-449AF30CCC2B}" type="parTrans" cxnId="{0B106C5F-42EB-4300-BDCD-60CD52F08392}">
      <dgm:prSet/>
      <dgm:spPr/>
      <dgm:t>
        <a:bodyPr/>
        <a:lstStyle/>
        <a:p>
          <a:endParaRPr lang="en-US" sz="1000"/>
        </a:p>
      </dgm:t>
    </dgm:pt>
    <dgm:pt modelId="{39E41F36-A5A1-4ABB-83DA-B42122E3B882}" type="sibTrans" cxnId="{0B106C5F-42EB-4300-BDCD-60CD52F08392}">
      <dgm:prSet/>
      <dgm:spPr/>
      <dgm:t>
        <a:bodyPr/>
        <a:lstStyle/>
        <a:p>
          <a:endParaRPr lang="en-US" sz="1000"/>
        </a:p>
      </dgm:t>
    </dgm:pt>
    <dgm:pt modelId="{8C988897-87B7-4517-9047-DFA7A88C38ED}">
      <dgm:prSet phldrT="[Text]" custT="1"/>
      <dgm:spPr/>
      <dgm:t>
        <a:bodyPr/>
        <a:lstStyle/>
        <a:p>
          <a:r>
            <a:rPr lang="en-US" sz="1000" dirty="0"/>
            <a:t>Foreman</a:t>
          </a:r>
        </a:p>
      </dgm:t>
    </dgm:pt>
    <dgm:pt modelId="{03D29BEB-8C5A-4A99-8BC3-76E4815FCD31}" type="parTrans" cxnId="{5F4F5848-CA66-4198-BFB3-A18515633384}">
      <dgm:prSet/>
      <dgm:spPr/>
      <dgm:t>
        <a:bodyPr/>
        <a:lstStyle/>
        <a:p>
          <a:endParaRPr lang="en-US" sz="1000"/>
        </a:p>
      </dgm:t>
    </dgm:pt>
    <dgm:pt modelId="{2436EC5A-ABCA-41EE-BECC-8BBE18E8256E}" type="sibTrans" cxnId="{5F4F5848-CA66-4198-BFB3-A18515633384}">
      <dgm:prSet/>
      <dgm:spPr/>
      <dgm:t>
        <a:bodyPr/>
        <a:lstStyle/>
        <a:p>
          <a:endParaRPr lang="en-US" sz="1000"/>
        </a:p>
      </dgm:t>
    </dgm:pt>
    <dgm:pt modelId="{CEFE54B5-1BF0-40D8-A238-41A7896496D8}">
      <dgm:prSet phldrT="[Text]" custT="1"/>
      <dgm:spPr/>
      <dgm:t>
        <a:bodyPr/>
        <a:lstStyle/>
        <a:p>
          <a:r>
            <a:rPr lang="en-US" sz="1000" dirty="0"/>
            <a:t>Foreman</a:t>
          </a:r>
        </a:p>
      </dgm:t>
    </dgm:pt>
    <dgm:pt modelId="{1FB87FED-6972-430F-AC0C-71746CE494E0}" type="parTrans" cxnId="{3F3DE9E9-BCE1-4553-AD2B-5D1514B648D0}">
      <dgm:prSet/>
      <dgm:spPr/>
      <dgm:t>
        <a:bodyPr/>
        <a:lstStyle/>
        <a:p>
          <a:endParaRPr lang="en-US" sz="1000"/>
        </a:p>
      </dgm:t>
    </dgm:pt>
    <dgm:pt modelId="{6561193A-D219-4269-B667-3F90A154D0FB}" type="sibTrans" cxnId="{3F3DE9E9-BCE1-4553-AD2B-5D1514B648D0}">
      <dgm:prSet/>
      <dgm:spPr/>
      <dgm:t>
        <a:bodyPr/>
        <a:lstStyle/>
        <a:p>
          <a:endParaRPr lang="en-US" sz="1000"/>
        </a:p>
      </dgm:t>
    </dgm:pt>
    <dgm:pt modelId="{BCF27CF9-0ED4-4612-94D1-DC1E000F8967}">
      <dgm:prSet phldrT="[Text]" custT="1"/>
      <dgm:spPr/>
      <dgm:t>
        <a:bodyPr/>
        <a:lstStyle/>
        <a:p>
          <a:r>
            <a:rPr lang="en-US" sz="1000" dirty="0"/>
            <a:t>Foreman</a:t>
          </a:r>
        </a:p>
      </dgm:t>
    </dgm:pt>
    <dgm:pt modelId="{07113328-4499-450A-BD57-0C9620EB93F0}" type="parTrans" cxnId="{0441F475-15D7-48A9-8F50-227B93309655}">
      <dgm:prSet/>
      <dgm:spPr/>
      <dgm:t>
        <a:bodyPr/>
        <a:lstStyle/>
        <a:p>
          <a:endParaRPr lang="en-US" sz="1000"/>
        </a:p>
      </dgm:t>
    </dgm:pt>
    <dgm:pt modelId="{92E0E80D-3C40-4A36-B209-168F406C7343}" type="sibTrans" cxnId="{0441F475-15D7-48A9-8F50-227B93309655}">
      <dgm:prSet/>
      <dgm:spPr/>
      <dgm:t>
        <a:bodyPr/>
        <a:lstStyle/>
        <a:p>
          <a:endParaRPr lang="en-US" sz="1000"/>
        </a:p>
      </dgm:t>
    </dgm:pt>
    <dgm:pt modelId="{5EEA353E-AFC6-4F20-8D77-AD8593576011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0A82C860-67E9-4924-9DCF-FC0CBD8C5010}" type="parTrans" cxnId="{C26A1C10-6734-4D51-8250-95D2086E8F98}">
      <dgm:prSet/>
      <dgm:spPr/>
      <dgm:t>
        <a:bodyPr/>
        <a:lstStyle/>
        <a:p>
          <a:endParaRPr lang="en-US" sz="1000"/>
        </a:p>
      </dgm:t>
    </dgm:pt>
    <dgm:pt modelId="{76204006-F138-4849-BD32-33E51A67180B}" type="sibTrans" cxnId="{C26A1C10-6734-4D51-8250-95D2086E8F98}">
      <dgm:prSet/>
      <dgm:spPr/>
      <dgm:t>
        <a:bodyPr/>
        <a:lstStyle/>
        <a:p>
          <a:endParaRPr lang="en-US" sz="1000"/>
        </a:p>
      </dgm:t>
    </dgm:pt>
    <dgm:pt modelId="{13E6143E-3AE3-4A1E-A16D-C96A8323BDC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CDC32E48-8470-4047-9C56-5574FF1AE61B}" type="parTrans" cxnId="{97AE87FF-7BA1-4E1E-BACC-821DEC3E9501}">
      <dgm:prSet/>
      <dgm:spPr/>
      <dgm:t>
        <a:bodyPr/>
        <a:lstStyle/>
        <a:p>
          <a:endParaRPr lang="en-US" sz="1000"/>
        </a:p>
      </dgm:t>
    </dgm:pt>
    <dgm:pt modelId="{3989C149-0CD7-479A-A0B6-E6DAD0A57E2C}" type="sibTrans" cxnId="{97AE87FF-7BA1-4E1E-BACC-821DEC3E9501}">
      <dgm:prSet/>
      <dgm:spPr/>
      <dgm:t>
        <a:bodyPr/>
        <a:lstStyle/>
        <a:p>
          <a:endParaRPr lang="en-US" sz="1000"/>
        </a:p>
      </dgm:t>
    </dgm:pt>
    <dgm:pt modelId="{BEC94471-A240-436D-A246-F2E4CBD2830E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EDDC8BBC-3074-4EF4-B00B-26662A4D0006}" type="parTrans" cxnId="{C1408012-C21A-4D4F-993D-9BC46D1F7099}">
      <dgm:prSet/>
      <dgm:spPr/>
      <dgm:t>
        <a:bodyPr/>
        <a:lstStyle/>
        <a:p>
          <a:endParaRPr lang="en-US" sz="1000"/>
        </a:p>
      </dgm:t>
    </dgm:pt>
    <dgm:pt modelId="{D1AF9D87-F41C-4F02-8D79-59C384796391}" type="sibTrans" cxnId="{C1408012-C21A-4D4F-993D-9BC46D1F7099}">
      <dgm:prSet/>
      <dgm:spPr/>
      <dgm:t>
        <a:bodyPr/>
        <a:lstStyle/>
        <a:p>
          <a:endParaRPr lang="en-US" sz="1000"/>
        </a:p>
      </dgm:t>
    </dgm:pt>
    <dgm:pt modelId="{2AB31F72-6288-44D2-8072-2F3E8CA5E8E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7DB04EC-4168-4743-9845-F6C1C690AAAC}" type="parTrans" cxnId="{E20F80F6-2CD3-42B5-9910-7D14EF778F5E}">
      <dgm:prSet/>
      <dgm:spPr/>
      <dgm:t>
        <a:bodyPr/>
        <a:lstStyle/>
        <a:p>
          <a:endParaRPr lang="en-US" sz="1000"/>
        </a:p>
      </dgm:t>
    </dgm:pt>
    <dgm:pt modelId="{93F5CAB4-2AB7-4A78-A535-D6B3D24DA627}" type="sibTrans" cxnId="{E20F80F6-2CD3-42B5-9910-7D14EF778F5E}">
      <dgm:prSet/>
      <dgm:spPr/>
      <dgm:t>
        <a:bodyPr/>
        <a:lstStyle/>
        <a:p>
          <a:endParaRPr lang="en-US" sz="1000"/>
        </a:p>
      </dgm:t>
    </dgm:pt>
    <dgm:pt modelId="{D0BD1B9D-6FCD-4A08-9C31-03A5F2B41B4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3420DA78-1189-4823-8264-4E3D7CD5A180}" type="parTrans" cxnId="{44C9C710-4015-4401-A37B-EA3DCDFEDCEF}">
      <dgm:prSet/>
      <dgm:spPr/>
      <dgm:t>
        <a:bodyPr/>
        <a:lstStyle/>
        <a:p>
          <a:endParaRPr lang="en-US" sz="1000"/>
        </a:p>
      </dgm:t>
    </dgm:pt>
    <dgm:pt modelId="{DF32E5FC-3ECD-4002-82D6-521EBF941CB5}" type="sibTrans" cxnId="{44C9C710-4015-4401-A37B-EA3DCDFEDCEF}">
      <dgm:prSet/>
      <dgm:spPr/>
      <dgm:t>
        <a:bodyPr/>
        <a:lstStyle/>
        <a:p>
          <a:endParaRPr lang="en-US" sz="1000"/>
        </a:p>
      </dgm:t>
    </dgm:pt>
    <dgm:pt modelId="{D3EAEA6F-8226-4F40-AAE6-0C94EE3EF556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CF2BD7BF-C222-47C6-8576-73591C998929}" type="parTrans" cxnId="{BF38D40B-FDAD-4FC2-94EA-46B5909F3557}">
      <dgm:prSet/>
      <dgm:spPr/>
      <dgm:t>
        <a:bodyPr/>
        <a:lstStyle/>
        <a:p>
          <a:endParaRPr lang="en-US" sz="1000"/>
        </a:p>
      </dgm:t>
    </dgm:pt>
    <dgm:pt modelId="{BA69229E-37FD-4EF1-9B9A-53193E80AC24}" type="sibTrans" cxnId="{BF38D40B-FDAD-4FC2-94EA-46B5909F3557}">
      <dgm:prSet/>
      <dgm:spPr/>
      <dgm:t>
        <a:bodyPr/>
        <a:lstStyle/>
        <a:p>
          <a:endParaRPr lang="en-US" sz="1000"/>
        </a:p>
      </dgm:t>
    </dgm:pt>
    <dgm:pt modelId="{6FDAC7CE-C7EF-40C3-B712-A3202A457CE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8987B43F-EE7D-4124-AB48-46F3316BE98E}" type="parTrans" cxnId="{BE1B924B-0C7F-4620-8B51-F57172EA1806}">
      <dgm:prSet/>
      <dgm:spPr/>
      <dgm:t>
        <a:bodyPr/>
        <a:lstStyle/>
        <a:p>
          <a:endParaRPr lang="en-US" sz="1000"/>
        </a:p>
      </dgm:t>
    </dgm:pt>
    <dgm:pt modelId="{645F58BC-DE26-4E21-BAF6-DA0D82F55B8A}" type="sibTrans" cxnId="{BE1B924B-0C7F-4620-8B51-F57172EA1806}">
      <dgm:prSet/>
      <dgm:spPr/>
      <dgm:t>
        <a:bodyPr/>
        <a:lstStyle/>
        <a:p>
          <a:endParaRPr lang="en-US" sz="1000"/>
        </a:p>
      </dgm:t>
    </dgm:pt>
    <dgm:pt modelId="{C8DBDEE6-FC39-4EAC-9FE5-3F58BA91234D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39F50FA-EEE3-4D7A-8C4B-320B85211430}" type="parTrans" cxnId="{3C986995-76F4-4DB1-B6C5-DF1068BA7E44}">
      <dgm:prSet/>
      <dgm:spPr/>
      <dgm:t>
        <a:bodyPr/>
        <a:lstStyle/>
        <a:p>
          <a:endParaRPr lang="en-US" sz="1000"/>
        </a:p>
      </dgm:t>
    </dgm:pt>
    <dgm:pt modelId="{11858CF6-7F77-48B3-AFAA-6DF7453AF8F1}" type="sibTrans" cxnId="{3C986995-76F4-4DB1-B6C5-DF1068BA7E44}">
      <dgm:prSet/>
      <dgm:spPr/>
      <dgm:t>
        <a:bodyPr/>
        <a:lstStyle/>
        <a:p>
          <a:endParaRPr lang="en-US" sz="1000"/>
        </a:p>
      </dgm:t>
    </dgm:pt>
    <dgm:pt modelId="{039FA459-9C06-468E-B1F7-E5A82D5411B4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62D16580-86F9-40F0-867C-B38652B85398}" type="parTrans" cxnId="{C6C7A5B0-F44B-41BD-9D5D-F2F76FD1E08D}">
      <dgm:prSet/>
      <dgm:spPr/>
      <dgm:t>
        <a:bodyPr/>
        <a:lstStyle/>
        <a:p>
          <a:endParaRPr lang="en-US" sz="1000"/>
        </a:p>
      </dgm:t>
    </dgm:pt>
    <dgm:pt modelId="{F54622C5-0363-4600-8D38-21A33EE77957}" type="sibTrans" cxnId="{C6C7A5B0-F44B-41BD-9D5D-F2F76FD1E08D}">
      <dgm:prSet/>
      <dgm:spPr/>
      <dgm:t>
        <a:bodyPr/>
        <a:lstStyle/>
        <a:p>
          <a:endParaRPr lang="en-US" sz="1000"/>
        </a:p>
      </dgm:t>
    </dgm:pt>
    <dgm:pt modelId="{E557E23E-C3E6-42E2-868F-877B1D8E73CB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FAF273E8-FB9C-4474-92C9-A0CDE5FEDDC1}" type="parTrans" cxnId="{CC99BC72-6785-4C86-95FD-29DF5063F994}">
      <dgm:prSet/>
      <dgm:spPr/>
      <dgm:t>
        <a:bodyPr/>
        <a:lstStyle/>
        <a:p>
          <a:endParaRPr lang="en-US" sz="1000"/>
        </a:p>
      </dgm:t>
    </dgm:pt>
    <dgm:pt modelId="{91839324-1A32-42DB-82F4-5BC2D4910982}" type="sibTrans" cxnId="{CC99BC72-6785-4C86-95FD-29DF5063F994}">
      <dgm:prSet/>
      <dgm:spPr/>
      <dgm:t>
        <a:bodyPr/>
        <a:lstStyle/>
        <a:p>
          <a:endParaRPr lang="en-US" sz="1000"/>
        </a:p>
      </dgm:t>
    </dgm:pt>
    <dgm:pt modelId="{97751B3B-AFD0-4B86-8DBD-7987C92C6E32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83BD93D6-7A0E-4A44-AB13-3EF7F617E4A6}" type="parTrans" cxnId="{CE4E22D1-3EE0-4F09-82A0-0CD5785AECDF}">
      <dgm:prSet/>
      <dgm:spPr/>
      <dgm:t>
        <a:bodyPr/>
        <a:lstStyle/>
        <a:p>
          <a:endParaRPr lang="en-US" sz="1000"/>
        </a:p>
      </dgm:t>
    </dgm:pt>
    <dgm:pt modelId="{CCD94597-4420-41FE-95DA-62E7EBB26D85}" type="sibTrans" cxnId="{CE4E22D1-3EE0-4F09-82A0-0CD5785AECDF}">
      <dgm:prSet/>
      <dgm:spPr/>
      <dgm:t>
        <a:bodyPr/>
        <a:lstStyle/>
        <a:p>
          <a:endParaRPr lang="en-US" sz="1000"/>
        </a:p>
      </dgm:t>
    </dgm:pt>
    <dgm:pt modelId="{4D793E25-9924-492C-B00A-32F155E6050A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/>
            <a:t>Lease Operator</a:t>
          </a:r>
          <a:endParaRPr lang="en-US" sz="1000" dirty="0"/>
        </a:p>
      </dgm:t>
    </dgm:pt>
    <dgm:pt modelId="{30F82C44-F97D-491F-8381-068EEDDCD21B}" type="parTrans" cxnId="{8D152BD1-C15E-4D92-A975-73CBD6E4487F}">
      <dgm:prSet/>
      <dgm:spPr/>
      <dgm:t>
        <a:bodyPr/>
        <a:lstStyle/>
        <a:p>
          <a:endParaRPr lang="en-US" sz="1000"/>
        </a:p>
      </dgm:t>
    </dgm:pt>
    <dgm:pt modelId="{FF3265DF-C755-46E3-B9BC-B845D9BAEC0A}" type="sibTrans" cxnId="{8D152BD1-C15E-4D92-A975-73CBD6E4487F}">
      <dgm:prSet/>
      <dgm:spPr/>
      <dgm:t>
        <a:bodyPr/>
        <a:lstStyle/>
        <a:p>
          <a:endParaRPr lang="en-US" sz="1000"/>
        </a:p>
      </dgm:t>
    </dgm:pt>
    <dgm:pt modelId="{761A1E22-8C8A-4152-B1C8-4F9F35F000B9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D1805DA1-904F-4B00-AF8A-FF206D51C6A2}" type="parTrans" cxnId="{6E4C3C9B-13CB-4D1E-91E9-A66904E6DEB5}">
      <dgm:prSet/>
      <dgm:spPr/>
      <dgm:t>
        <a:bodyPr/>
        <a:lstStyle/>
        <a:p>
          <a:endParaRPr lang="en-US" sz="1000"/>
        </a:p>
      </dgm:t>
    </dgm:pt>
    <dgm:pt modelId="{E093EFA0-7F0F-40F5-A5A5-B7265D03F82F}" type="sibTrans" cxnId="{6E4C3C9B-13CB-4D1E-91E9-A66904E6DEB5}">
      <dgm:prSet/>
      <dgm:spPr/>
      <dgm:t>
        <a:bodyPr/>
        <a:lstStyle/>
        <a:p>
          <a:endParaRPr lang="en-US" sz="1000"/>
        </a:p>
      </dgm:t>
    </dgm:pt>
    <dgm:pt modelId="{25EF0883-7505-481B-9361-6A17544145A1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0CF47565-496B-452B-A332-F8123452058B}" type="parTrans" cxnId="{1D9C0DA6-A66C-4896-BD02-0B3148810FCA}">
      <dgm:prSet/>
      <dgm:spPr/>
      <dgm:t>
        <a:bodyPr/>
        <a:lstStyle/>
        <a:p>
          <a:endParaRPr lang="en-US" sz="1000"/>
        </a:p>
      </dgm:t>
    </dgm:pt>
    <dgm:pt modelId="{4C8A066E-D124-4071-B943-8BCE9C106578}" type="sibTrans" cxnId="{1D9C0DA6-A66C-4896-BD02-0B3148810FCA}">
      <dgm:prSet/>
      <dgm:spPr/>
      <dgm:t>
        <a:bodyPr/>
        <a:lstStyle/>
        <a:p>
          <a:endParaRPr lang="en-US" sz="1000"/>
        </a:p>
      </dgm:t>
    </dgm:pt>
    <dgm:pt modelId="{A7195517-ECE8-4D75-B284-DD7FC3A1C483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000" dirty="0"/>
            <a:t>Lease Operator</a:t>
          </a:r>
        </a:p>
      </dgm:t>
    </dgm:pt>
    <dgm:pt modelId="{3A71DE44-A883-452F-BD5C-5C1232AFF38F}" type="parTrans" cxnId="{C1FB86D0-3301-414C-8D9D-1DB236A0CA01}">
      <dgm:prSet/>
      <dgm:spPr/>
      <dgm:t>
        <a:bodyPr/>
        <a:lstStyle/>
        <a:p>
          <a:endParaRPr lang="en-US" sz="1000"/>
        </a:p>
      </dgm:t>
    </dgm:pt>
    <dgm:pt modelId="{B03912AA-9EC5-4CF4-8842-A978F5471BA2}" type="sibTrans" cxnId="{C1FB86D0-3301-414C-8D9D-1DB236A0CA01}">
      <dgm:prSet/>
      <dgm:spPr/>
      <dgm:t>
        <a:bodyPr/>
        <a:lstStyle/>
        <a:p>
          <a:endParaRPr lang="en-US" sz="1000"/>
        </a:p>
      </dgm:t>
    </dgm:pt>
    <dgm:pt modelId="{1C9732A4-6FF4-40D6-8D61-7C8DB349EAC3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Admin</a:t>
          </a:r>
        </a:p>
      </dgm:t>
    </dgm:pt>
    <dgm:pt modelId="{B5308BE8-90F6-43A8-855E-10D425C89E8B}" type="parTrans" cxnId="{65AB1174-3962-4FF8-8723-2AE8B3B817B7}">
      <dgm:prSet/>
      <dgm:spPr/>
      <dgm:t>
        <a:bodyPr/>
        <a:lstStyle/>
        <a:p>
          <a:endParaRPr lang="en-US"/>
        </a:p>
      </dgm:t>
    </dgm:pt>
    <dgm:pt modelId="{F05417B5-AA2B-4AAA-8E75-A2CDD48B10F8}" type="sibTrans" cxnId="{65AB1174-3962-4FF8-8723-2AE8B3B817B7}">
      <dgm:prSet/>
      <dgm:spPr/>
      <dgm:t>
        <a:bodyPr/>
        <a:lstStyle/>
        <a:p>
          <a:endParaRPr lang="en-US"/>
        </a:p>
      </dgm:t>
    </dgm:pt>
    <dgm:pt modelId="{0D6DE103-5F19-4F21-AF6F-B55ED5F6FC89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Admin</a:t>
          </a:r>
        </a:p>
      </dgm:t>
    </dgm:pt>
    <dgm:pt modelId="{7C6CCB63-A967-4C87-94BE-1382925217CD}" type="parTrans" cxnId="{7DC75F6D-295A-4097-A1C6-5B8832D8EAFD}">
      <dgm:prSet/>
      <dgm:spPr/>
      <dgm:t>
        <a:bodyPr/>
        <a:lstStyle/>
        <a:p>
          <a:endParaRPr lang="en-US"/>
        </a:p>
      </dgm:t>
    </dgm:pt>
    <dgm:pt modelId="{A3F2E28C-9962-4381-A7F3-AAA92F5EECE9}" type="sibTrans" cxnId="{7DC75F6D-295A-4097-A1C6-5B8832D8EAFD}">
      <dgm:prSet/>
      <dgm:spPr/>
      <dgm:t>
        <a:bodyPr/>
        <a:lstStyle/>
        <a:p>
          <a:endParaRPr lang="en-US"/>
        </a:p>
      </dgm:t>
    </dgm:pt>
    <dgm:pt modelId="{6E006925-3003-4720-8633-AD5D2DB96A2A}" type="asst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000" b="1" dirty="0">
              <a:solidFill>
                <a:schemeClr val="bg1"/>
              </a:solidFill>
            </a:rPr>
            <a:t>VP Ops</a:t>
          </a:r>
        </a:p>
      </dgm:t>
    </dgm:pt>
    <dgm:pt modelId="{3B55E5E6-48FD-4015-BF60-694348163B1F}" type="sibTrans" cxnId="{DB743CF3-49FF-44F2-AD08-3D2C02B7EC98}">
      <dgm:prSet/>
      <dgm:spPr/>
      <dgm:t>
        <a:bodyPr/>
        <a:lstStyle/>
        <a:p>
          <a:endParaRPr lang="en-US" sz="1000"/>
        </a:p>
      </dgm:t>
    </dgm:pt>
    <dgm:pt modelId="{EE21B19B-79F6-4D43-9A5B-C3CB30C837EB}" type="parTrans" cxnId="{DB743CF3-49FF-44F2-AD08-3D2C02B7EC98}">
      <dgm:prSet/>
      <dgm:spPr/>
      <dgm:t>
        <a:bodyPr/>
        <a:lstStyle/>
        <a:p>
          <a:endParaRPr lang="en-US" sz="1000"/>
        </a:p>
      </dgm:t>
    </dgm:pt>
    <dgm:pt modelId="{1CC0987F-94C0-4CA1-9C1E-E5D65D9D35F5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FDD59A98-5413-4434-8DC1-7DF4B1D9C928}" type="parTrans" cxnId="{C527CBD1-8122-4A6B-A5A5-5CA46E020A6C}">
      <dgm:prSet/>
      <dgm:spPr/>
      <dgm:t>
        <a:bodyPr/>
        <a:lstStyle/>
        <a:p>
          <a:endParaRPr lang="en-US"/>
        </a:p>
      </dgm:t>
    </dgm:pt>
    <dgm:pt modelId="{6C879D9C-8CA7-4280-8B3A-AF6856C8A1A4}" type="sibTrans" cxnId="{C527CBD1-8122-4A6B-A5A5-5CA46E020A6C}">
      <dgm:prSet/>
      <dgm:spPr/>
      <dgm:t>
        <a:bodyPr/>
        <a:lstStyle/>
        <a:p>
          <a:endParaRPr lang="en-US"/>
        </a:p>
      </dgm:t>
    </dgm:pt>
    <dgm:pt modelId="{76443041-A797-4A4D-9403-DAD82DDF176A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3079458F-EC6F-4B3A-8344-DD5C1AE44210}" type="parTrans" cxnId="{3418DD3E-B1DA-4620-9B93-0F51508C8D6C}">
      <dgm:prSet/>
      <dgm:spPr/>
      <dgm:t>
        <a:bodyPr/>
        <a:lstStyle/>
        <a:p>
          <a:endParaRPr lang="en-US"/>
        </a:p>
      </dgm:t>
    </dgm:pt>
    <dgm:pt modelId="{5A4B5119-3C84-4689-8A5D-E05EB25F38A3}" type="sibTrans" cxnId="{3418DD3E-B1DA-4620-9B93-0F51508C8D6C}">
      <dgm:prSet/>
      <dgm:spPr/>
      <dgm:t>
        <a:bodyPr/>
        <a:lstStyle/>
        <a:p>
          <a:endParaRPr lang="en-US"/>
        </a:p>
      </dgm:t>
    </dgm:pt>
    <dgm:pt modelId="{82AAA354-A7CE-4AB1-99AB-2B651718BBA4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3D973D13-7791-456C-B9BE-CDB53C40AD0D}" type="parTrans" cxnId="{69C047DD-2A64-42FE-B63F-1D6685C596A7}">
      <dgm:prSet/>
      <dgm:spPr/>
      <dgm:t>
        <a:bodyPr/>
        <a:lstStyle/>
        <a:p>
          <a:endParaRPr lang="en-US"/>
        </a:p>
      </dgm:t>
    </dgm:pt>
    <dgm:pt modelId="{86D78BF2-5602-4D82-8179-A3BEDE65EE3C}" type="sibTrans" cxnId="{69C047DD-2A64-42FE-B63F-1D6685C596A7}">
      <dgm:prSet/>
      <dgm:spPr/>
      <dgm:t>
        <a:bodyPr/>
        <a:lstStyle/>
        <a:p>
          <a:endParaRPr lang="en-US"/>
        </a:p>
      </dgm:t>
    </dgm:pt>
    <dgm:pt modelId="{A3FC52F2-F011-4737-8EB4-60558773279B}">
      <dgm:prSet phldrT="[Text]" custT="1"/>
      <dgm:spPr/>
      <dgm:t>
        <a:bodyPr/>
        <a:lstStyle/>
        <a:p>
          <a:r>
            <a:rPr lang="en-US" sz="1000" dirty="0"/>
            <a:t>Operations Lead</a:t>
          </a:r>
        </a:p>
      </dgm:t>
    </dgm:pt>
    <dgm:pt modelId="{C3907856-EB3C-408D-9DFE-CF514D31CB1C}" type="parTrans" cxnId="{7D0E90ED-8B8C-499A-8B8E-B85DEA5ADCB5}">
      <dgm:prSet/>
      <dgm:spPr/>
      <dgm:t>
        <a:bodyPr/>
        <a:lstStyle/>
        <a:p>
          <a:endParaRPr lang="en-US"/>
        </a:p>
      </dgm:t>
    </dgm:pt>
    <dgm:pt modelId="{52C7C134-FE0C-4547-BD91-D4F8ED58C399}" type="sibTrans" cxnId="{7D0E90ED-8B8C-499A-8B8E-B85DEA5ADCB5}">
      <dgm:prSet/>
      <dgm:spPr/>
      <dgm:t>
        <a:bodyPr/>
        <a:lstStyle/>
        <a:p>
          <a:endParaRPr lang="en-US"/>
        </a:p>
      </dgm:t>
    </dgm:pt>
    <dgm:pt modelId="{1D702F36-EFBC-4D33-AFBB-22A512C7F89A}" type="pres">
      <dgm:prSet presAssocID="{EF832AFC-3F8E-4FC2-A2C2-34B65B63776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C736579-9C03-4AE0-BC86-D125DC12861F}" type="pres">
      <dgm:prSet presAssocID="{6E006925-3003-4720-8633-AD5D2DB96A2A}" presName="hierRoot1" presStyleCnt="0">
        <dgm:presLayoutVars>
          <dgm:hierBranch val="init"/>
        </dgm:presLayoutVars>
      </dgm:prSet>
      <dgm:spPr/>
    </dgm:pt>
    <dgm:pt modelId="{8F92E065-A464-4058-8DC3-9141E7868862}" type="pres">
      <dgm:prSet presAssocID="{6E006925-3003-4720-8633-AD5D2DB96A2A}" presName="rootComposite1" presStyleCnt="0"/>
      <dgm:spPr/>
    </dgm:pt>
    <dgm:pt modelId="{B748CB5D-1BF0-40F4-B0E2-608095375244}" type="pres">
      <dgm:prSet presAssocID="{6E006925-3003-4720-8633-AD5D2DB96A2A}" presName="rootText1" presStyleLbl="node0" presStyleIdx="0" presStyleCnt="1">
        <dgm:presLayoutVars>
          <dgm:chPref val="3"/>
        </dgm:presLayoutVars>
      </dgm:prSet>
      <dgm:spPr/>
    </dgm:pt>
    <dgm:pt modelId="{70B29599-2987-4A59-9606-E2C559936213}" type="pres">
      <dgm:prSet presAssocID="{6E006925-3003-4720-8633-AD5D2DB96A2A}" presName="rootConnector1" presStyleLbl="asst0" presStyleIdx="0" presStyleCnt="0"/>
      <dgm:spPr/>
    </dgm:pt>
    <dgm:pt modelId="{FAE866CE-561F-4C3A-9064-6F1D0BD6CF34}" type="pres">
      <dgm:prSet presAssocID="{6E006925-3003-4720-8633-AD5D2DB96A2A}" presName="hierChild2" presStyleCnt="0"/>
      <dgm:spPr/>
    </dgm:pt>
    <dgm:pt modelId="{2551C1A7-DE50-4108-9266-6F69CB481F73}" type="pres">
      <dgm:prSet presAssocID="{85E4676F-DFDF-4B20-B1C3-60B5AF43D2D4}" presName="Name37" presStyleLbl="parChTrans1D2" presStyleIdx="0" presStyleCnt="2"/>
      <dgm:spPr/>
    </dgm:pt>
    <dgm:pt modelId="{89DBECB9-24C9-4020-8CF4-9284AF9BDD80}" type="pres">
      <dgm:prSet presAssocID="{E7F791D8-DB8B-4941-8E11-8F020F632050}" presName="hierRoot2" presStyleCnt="0">
        <dgm:presLayoutVars>
          <dgm:hierBranch val="init"/>
        </dgm:presLayoutVars>
      </dgm:prSet>
      <dgm:spPr/>
    </dgm:pt>
    <dgm:pt modelId="{DB19F846-2D40-48D2-818A-92BFF690C6F2}" type="pres">
      <dgm:prSet presAssocID="{E7F791D8-DB8B-4941-8E11-8F020F632050}" presName="rootComposite" presStyleCnt="0"/>
      <dgm:spPr/>
    </dgm:pt>
    <dgm:pt modelId="{D39158BC-EC6E-4B40-8CEA-F48343DDDE1E}" type="pres">
      <dgm:prSet presAssocID="{E7F791D8-DB8B-4941-8E11-8F020F632050}" presName="rootText" presStyleLbl="node2" presStyleIdx="0" presStyleCnt="2">
        <dgm:presLayoutVars>
          <dgm:chPref val="3"/>
        </dgm:presLayoutVars>
      </dgm:prSet>
      <dgm:spPr/>
    </dgm:pt>
    <dgm:pt modelId="{0493376E-91BF-4B13-8A9A-8F5A5A027EBD}" type="pres">
      <dgm:prSet presAssocID="{E7F791D8-DB8B-4941-8E11-8F020F632050}" presName="rootConnector" presStyleLbl="node2" presStyleIdx="0" presStyleCnt="2"/>
      <dgm:spPr/>
    </dgm:pt>
    <dgm:pt modelId="{381EAE75-06E3-4FC4-B3F3-D052430AA7A2}" type="pres">
      <dgm:prSet presAssocID="{E7F791D8-DB8B-4941-8E11-8F020F632050}" presName="hierChild4" presStyleCnt="0"/>
      <dgm:spPr/>
    </dgm:pt>
    <dgm:pt modelId="{7171381D-93AB-4757-BC70-85E048680918}" type="pres">
      <dgm:prSet presAssocID="{B5308BE8-90F6-43A8-855E-10D425C89E8B}" presName="Name37" presStyleLbl="parChTrans1D3" presStyleIdx="0" presStyleCnt="6"/>
      <dgm:spPr/>
    </dgm:pt>
    <dgm:pt modelId="{79E6D2E0-650D-4B3C-BD53-455F528E0347}" type="pres">
      <dgm:prSet presAssocID="{1C9732A4-6FF4-40D6-8D61-7C8DB349EAC3}" presName="hierRoot2" presStyleCnt="0">
        <dgm:presLayoutVars>
          <dgm:hierBranch val="init"/>
        </dgm:presLayoutVars>
      </dgm:prSet>
      <dgm:spPr/>
    </dgm:pt>
    <dgm:pt modelId="{B821B186-CDA8-46AB-B34F-024F7CF5F91E}" type="pres">
      <dgm:prSet presAssocID="{1C9732A4-6FF4-40D6-8D61-7C8DB349EAC3}" presName="rootComposite" presStyleCnt="0"/>
      <dgm:spPr/>
    </dgm:pt>
    <dgm:pt modelId="{DD866608-B532-4C1E-9B13-FA9B1BC79E0F}" type="pres">
      <dgm:prSet presAssocID="{1C9732A4-6FF4-40D6-8D61-7C8DB349EAC3}" presName="rootText" presStyleLbl="node3" presStyleIdx="0" presStyleCnt="6">
        <dgm:presLayoutVars>
          <dgm:chPref val="3"/>
        </dgm:presLayoutVars>
      </dgm:prSet>
      <dgm:spPr/>
    </dgm:pt>
    <dgm:pt modelId="{626D83D9-7DC2-49A7-9CAE-3B1BAE9F1C8F}" type="pres">
      <dgm:prSet presAssocID="{1C9732A4-6FF4-40D6-8D61-7C8DB349EAC3}" presName="rootConnector" presStyleLbl="node3" presStyleIdx="0" presStyleCnt="6"/>
      <dgm:spPr/>
    </dgm:pt>
    <dgm:pt modelId="{7529C337-3F1A-48D3-8371-05182F7FDDBA}" type="pres">
      <dgm:prSet presAssocID="{1C9732A4-6FF4-40D6-8D61-7C8DB349EAC3}" presName="hierChild4" presStyleCnt="0"/>
      <dgm:spPr/>
    </dgm:pt>
    <dgm:pt modelId="{F5C0DCC5-069C-41EF-96E8-5C44A861B80C}" type="pres">
      <dgm:prSet presAssocID="{1C9732A4-6FF4-40D6-8D61-7C8DB349EAC3}" presName="hierChild5" presStyleCnt="0"/>
      <dgm:spPr/>
    </dgm:pt>
    <dgm:pt modelId="{4617481A-8433-4D8A-9D92-8280515D5E7A}" type="pres">
      <dgm:prSet presAssocID="{03D29BEB-8C5A-4A99-8BC3-76E4815FCD31}" presName="Name37" presStyleLbl="parChTrans1D3" presStyleIdx="1" presStyleCnt="6"/>
      <dgm:spPr/>
    </dgm:pt>
    <dgm:pt modelId="{758C4A9F-C30E-4953-BF90-265BABA0581D}" type="pres">
      <dgm:prSet presAssocID="{8C988897-87B7-4517-9047-DFA7A88C38ED}" presName="hierRoot2" presStyleCnt="0">
        <dgm:presLayoutVars>
          <dgm:hierBranch val="init"/>
        </dgm:presLayoutVars>
      </dgm:prSet>
      <dgm:spPr/>
    </dgm:pt>
    <dgm:pt modelId="{DCC1CDE0-6ED1-45F1-95DA-E0969DACE8A5}" type="pres">
      <dgm:prSet presAssocID="{8C988897-87B7-4517-9047-DFA7A88C38ED}" presName="rootComposite" presStyleCnt="0"/>
      <dgm:spPr/>
    </dgm:pt>
    <dgm:pt modelId="{57776C70-4867-4A75-BB91-ECE4EAD53C8E}" type="pres">
      <dgm:prSet presAssocID="{8C988897-87B7-4517-9047-DFA7A88C38ED}" presName="rootText" presStyleLbl="node3" presStyleIdx="1" presStyleCnt="6">
        <dgm:presLayoutVars>
          <dgm:chPref val="3"/>
        </dgm:presLayoutVars>
      </dgm:prSet>
      <dgm:spPr/>
    </dgm:pt>
    <dgm:pt modelId="{15FEAFC3-CF70-4F3C-9079-5273AB9F4416}" type="pres">
      <dgm:prSet presAssocID="{8C988897-87B7-4517-9047-DFA7A88C38ED}" presName="rootConnector" presStyleLbl="node3" presStyleIdx="1" presStyleCnt="6"/>
      <dgm:spPr/>
    </dgm:pt>
    <dgm:pt modelId="{1B178C22-EA4D-4D36-B1AF-D7FC02535957}" type="pres">
      <dgm:prSet presAssocID="{8C988897-87B7-4517-9047-DFA7A88C38ED}" presName="hierChild4" presStyleCnt="0"/>
      <dgm:spPr/>
    </dgm:pt>
    <dgm:pt modelId="{4B911C8F-417C-49C0-AAE0-9CE821F23A53}" type="pres">
      <dgm:prSet presAssocID="{FDD59A98-5413-4434-8DC1-7DF4B1D9C928}" presName="Name37" presStyleLbl="parChTrans1D4" presStyleIdx="0" presStyleCnt="23"/>
      <dgm:spPr/>
    </dgm:pt>
    <dgm:pt modelId="{345B488C-A60D-4537-A1C3-87297086D5AF}" type="pres">
      <dgm:prSet presAssocID="{1CC0987F-94C0-4CA1-9C1E-E5D65D9D35F5}" presName="hierRoot2" presStyleCnt="0">
        <dgm:presLayoutVars>
          <dgm:hierBranch val="init"/>
        </dgm:presLayoutVars>
      </dgm:prSet>
      <dgm:spPr/>
    </dgm:pt>
    <dgm:pt modelId="{0185262F-4486-4A81-BBAD-30FA74768CFF}" type="pres">
      <dgm:prSet presAssocID="{1CC0987F-94C0-4CA1-9C1E-E5D65D9D35F5}" presName="rootComposite" presStyleCnt="0"/>
      <dgm:spPr/>
    </dgm:pt>
    <dgm:pt modelId="{1F4D08F4-B6A1-4643-8643-00E57F1133EA}" type="pres">
      <dgm:prSet presAssocID="{1CC0987F-94C0-4CA1-9C1E-E5D65D9D35F5}" presName="rootText" presStyleLbl="node4" presStyleIdx="0" presStyleCnt="23">
        <dgm:presLayoutVars>
          <dgm:chPref val="3"/>
        </dgm:presLayoutVars>
      </dgm:prSet>
      <dgm:spPr/>
    </dgm:pt>
    <dgm:pt modelId="{E2E37F56-BA03-4D12-AA70-FEF5EDBA69E0}" type="pres">
      <dgm:prSet presAssocID="{1CC0987F-94C0-4CA1-9C1E-E5D65D9D35F5}" presName="rootConnector" presStyleLbl="node4" presStyleIdx="0" presStyleCnt="23"/>
      <dgm:spPr/>
    </dgm:pt>
    <dgm:pt modelId="{939E656E-02D4-4484-AD78-4DB8B4666A76}" type="pres">
      <dgm:prSet presAssocID="{1CC0987F-94C0-4CA1-9C1E-E5D65D9D35F5}" presName="hierChild4" presStyleCnt="0"/>
      <dgm:spPr/>
    </dgm:pt>
    <dgm:pt modelId="{9F5D827E-DD8E-48EA-8B98-C974923FE59A}" type="pres">
      <dgm:prSet presAssocID="{1CC0987F-94C0-4CA1-9C1E-E5D65D9D35F5}" presName="hierChild5" presStyleCnt="0"/>
      <dgm:spPr/>
    </dgm:pt>
    <dgm:pt modelId="{5F27B44E-4915-466B-B832-3FF70F523FEB}" type="pres">
      <dgm:prSet presAssocID="{8987B43F-EE7D-4124-AB48-46F3316BE98E}" presName="Name37" presStyleLbl="parChTrans1D4" presStyleIdx="1" presStyleCnt="23"/>
      <dgm:spPr/>
    </dgm:pt>
    <dgm:pt modelId="{5B513C3E-6329-4A1B-BFEB-1ECA2EC96EE9}" type="pres">
      <dgm:prSet presAssocID="{6FDAC7CE-C7EF-40C3-B712-A3202A457CEF}" presName="hierRoot2" presStyleCnt="0">
        <dgm:presLayoutVars>
          <dgm:hierBranch val="init"/>
        </dgm:presLayoutVars>
      </dgm:prSet>
      <dgm:spPr/>
    </dgm:pt>
    <dgm:pt modelId="{A545F28C-A406-4024-AFE2-62D786B723BF}" type="pres">
      <dgm:prSet presAssocID="{6FDAC7CE-C7EF-40C3-B712-A3202A457CEF}" presName="rootComposite" presStyleCnt="0"/>
      <dgm:spPr/>
    </dgm:pt>
    <dgm:pt modelId="{C79CBE1C-5BCD-423C-9518-DB48B8FD8151}" type="pres">
      <dgm:prSet presAssocID="{6FDAC7CE-C7EF-40C3-B712-A3202A457CEF}" presName="rootText" presStyleLbl="node4" presStyleIdx="1" presStyleCnt="23" custLinFactNeighborY="-7280">
        <dgm:presLayoutVars>
          <dgm:chPref val="3"/>
        </dgm:presLayoutVars>
      </dgm:prSet>
      <dgm:spPr/>
    </dgm:pt>
    <dgm:pt modelId="{9438E796-ECFF-45AF-BDAD-F51F38B80D1A}" type="pres">
      <dgm:prSet presAssocID="{6FDAC7CE-C7EF-40C3-B712-A3202A457CEF}" presName="rootConnector" presStyleLbl="node4" presStyleIdx="1" presStyleCnt="23"/>
      <dgm:spPr/>
    </dgm:pt>
    <dgm:pt modelId="{6162516E-BD21-451B-ACAE-2F0D599DC449}" type="pres">
      <dgm:prSet presAssocID="{6FDAC7CE-C7EF-40C3-B712-A3202A457CEF}" presName="hierChild4" presStyleCnt="0"/>
      <dgm:spPr/>
    </dgm:pt>
    <dgm:pt modelId="{70B8ECED-25A7-4C38-9712-D19C6F945148}" type="pres">
      <dgm:prSet presAssocID="{6FDAC7CE-C7EF-40C3-B712-A3202A457CEF}" presName="hierChild5" presStyleCnt="0"/>
      <dgm:spPr/>
    </dgm:pt>
    <dgm:pt modelId="{07F66D99-B4F5-48C7-93B8-AB3D74072266}" type="pres">
      <dgm:prSet presAssocID="{F39F50FA-EEE3-4D7A-8C4B-320B85211430}" presName="Name37" presStyleLbl="parChTrans1D4" presStyleIdx="2" presStyleCnt="23"/>
      <dgm:spPr/>
    </dgm:pt>
    <dgm:pt modelId="{B72475A6-A71F-4C7F-ADD0-09334CAE0458}" type="pres">
      <dgm:prSet presAssocID="{C8DBDEE6-FC39-4EAC-9FE5-3F58BA91234D}" presName="hierRoot2" presStyleCnt="0">
        <dgm:presLayoutVars>
          <dgm:hierBranch val="init"/>
        </dgm:presLayoutVars>
      </dgm:prSet>
      <dgm:spPr/>
    </dgm:pt>
    <dgm:pt modelId="{DBADEBEC-4756-4E0A-8036-A14CBFB960EB}" type="pres">
      <dgm:prSet presAssocID="{C8DBDEE6-FC39-4EAC-9FE5-3F58BA91234D}" presName="rootComposite" presStyleCnt="0"/>
      <dgm:spPr/>
    </dgm:pt>
    <dgm:pt modelId="{8EEA6470-AFE7-4291-ACFD-8B7320266F1F}" type="pres">
      <dgm:prSet presAssocID="{C8DBDEE6-FC39-4EAC-9FE5-3F58BA91234D}" presName="rootText" presStyleLbl="node4" presStyleIdx="2" presStyleCnt="23" custLinFactNeighborY="-7280">
        <dgm:presLayoutVars>
          <dgm:chPref val="3"/>
        </dgm:presLayoutVars>
      </dgm:prSet>
      <dgm:spPr/>
    </dgm:pt>
    <dgm:pt modelId="{EC5FC57E-FFD1-4726-A3E4-2553AA7909D3}" type="pres">
      <dgm:prSet presAssocID="{C8DBDEE6-FC39-4EAC-9FE5-3F58BA91234D}" presName="rootConnector" presStyleLbl="node4" presStyleIdx="2" presStyleCnt="23"/>
      <dgm:spPr/>
    </dgm:pt>
    <dgm:pt modelId="{4D5A0297-B561-4CAE-B4AE-664240F079F6}" type="pres">
      <dgm:prSet presAssocID="{C8DBDEE6-FC39-4EAC-9FE5-3F58BA91234D}" presName="hierChild4" presStyleCnt="0"/>
      <dgm:spPr/>
    </dgm:pt>
    <dgm:pt modelId="{5C53ABD1-E59C-4483-BD92-6E2BFC55B79B}" type="pres">
      <dgm:prSet presAssocID="{C8DBDEE6-FC39-4EAC-9FE5-3F58BA91234D}" presName="hierChild5" presStyleCnt="0"/>
      <dgm:spPr/>
    </dgm:pt>
    <dgm:pt modelId="{983796B0-4E24-4037-A756-23DAC096EEDD}" type="pres">
      <dgm:prSet presAssocID="{62D16580-86F9-40F0-867C-B38652B85398}" presName="Name37" presStyleLbl="parChTrans1D4" presStyleIdx="3" presStyleCnt="23"/>
      <dgm:spPr/>
    </dgm:pt>
    <dgm:pt modelId="{4F03B16F-0CD1-4F73-AE40-373E35BB09F6}" type="pres">
      <dgm:prSet presAssocID="{039FA459-9C06-468E-B1F7-E5A82D5411B4}" presName="hierRoot2" presStyleCnt="0">
        <dgm:presLayoutVars>
          <dgm:hierBranch val="init"/>
        </dgm:presLayoutVars>
      </dgm:prSet>
      <dgm:spPr/>
    </dgm:pt>
    <dgm:pt modelId="{982166F2-55D1-4F2F-ACE6-7257FB6EBFCD}" type="pres">
      <dgm:prSet presAssocID="{039FA459-9C06-468E-B1F7-E5A82D5411B4}" presName="rootComposite" presStyleCnt="0"/>
      <dgm:spPr/>
    </dgm:pt>
    <dgm:pt modelId="{BDED5FC7-7ECA-4F93-98CF-FB3DDFEDBC40}" type="pres">
      <dgm:prSet presAssocID="{039FA459-9C06-468E-B1F7-E5A82D5411B4}" presName="rootText" presStyleLbl="node4" presStyleIdx="3" presStyleCnt="23" custLinFactNeighborY="-7280">
        <dgm:presLayoutVars>
          <dgm:chPref val="3"/>
        </dgm:presLayoutVars>
      </dgm:prSet>
      <dgm:spPr/>
    </dgm:pt>
    <dgm:pt modelId="{A35E73FB-957F-43C2-897A-B1C7D473680F}" type="pres">
      <dgm:prSet presAssocID="{039FA459-9C06-468E-B1F7-E5A82D5411B4}" presName="rootConnector" presStyleLbl="node4" presStyleIdx="3" presStyleCnt="23"/>
      <dgm:spPr/>
    </dgm:pt>
    <dgm:pt modelId="{DB20039D-E80F-45B7-BEFC-CC83647384D1}" type="pres">
      <dgm:prSet presAssocID="{039FA459-9C06-468E-B1F7-E5A82D5411B4}" presName="hierChild4" presStyleCnt="0"/>
      <dgm:spPr/>
    </dgm:pt>
    <dgm:pt modelId="{606C1A11-5207-4326-813F-D30B0337645E}" type="pres">
      <dgm:prSet presAssocID="{039FA459-9C06-468E-B1F7-E5A82D5411B4}" presName="hierChild5" presStyleCnt="0"/>
      <dgm:spPr/>
    </dgm:pt>
    <dgm:pt modelId="{5AC7132E-9C97-4821-9AB9-A1B5D43163E9}" type="pres">
      <dgm:prSet presAssocID="{FAF273E8-FB9C-4474-92C9-A0CDE5FEDDC1}" presName="Name37" presStyleLbl="parChTrans1D4" presStyleIdx="4" presStyleCnt="23"/>
      <dgm:spPr/>
    </dgm:pt>
    <dgm:pt modelId="{0BA209E4-D36D-409B-80D8-7847D7F6E3CE}" type="pres">
      <dgm:prSet presAssocID="{E557E23E-C3E6-42E2-868F-877B1D8E73CB}" presName="hierRoot2" presStyleCnt="0">
        <dgm:presLayoutVars>
          <dgm:hierBranch val="init"/>
        </dgm:presLayoutVars>
      </dgm:prSet>
      <dgm:spPr/>
    </dgm:pt>
    <dgm:pt modelId="{62AA3CB0-ABBF-4DF4-AD13-7566DE887EB4}" type="pres">
      <dgm:prSet presAssocID="{E557E23E-C3E6-42E2-868F-877B1D8E73CB}" presName="rootComposite" presStyleCnt="0"/>
      <dgm:spPr/>
    </dgm:pt>
    <dgm:pt modelId="{D0C06A9D-9519-414B-BFF8-974E13F78F47}" type="pres">
      <dgm:prSet presAssocID="{E557E23E-C3E6-42E2-868F-877B1D8E73CB}" presName="rootText" presStyleLbl="node4" presStyleIdx="4" presStyleCnt="23" custLinFactNeighborY="-7280">
        <dgm:presLayoutVars>
          <dgm:chPref val="3"/>
        </dgm:presLayoutVars>
      </dgm:prSet>
      <dgm:spPr/>
    </dgm:pt>
    <dgm:pt modelId="{A88EF65C-30E4-4BAB-91D7-5FCA3657199C}" type="pres">
      <dgm:prSet presAssocID="{E557E23E-C3E6-42E2-868F-877B1D8E73CB}" presName="rootConnector" presStyleLbl="node4" presStyleIdx="4" presStyleCnt="23"/>
      <dgm:spPr/>
    </dgm:pt>
    <dgm:pt modelId="{1A509501-179F-4793-AFAC-EA635C5BE1EA}" type="pres">
      <dgm:prSet presAssocID="{E557E23E-C3E6-42E2-868F-877B1D8E73CB}" presName="hierChild4" presStyleCnt="0"/>
      <dgm:spPr/>
    </dgm:pt>
    <dgm:pt modelId="{45560DA3-8A58-46ED-A2B2-045EFA99D928}" type="pres">
      <dgm:prSet presAssocID="{E557E23E-C3E6-42E2-868F-877B1D8E73CB}" presName="hierChild5" presStyleCnt="0"/>
      <dgm:spPr/>
    </dgm:pt>
    <dgm:pt modelId="{0CBDE9EB-5821-4336-A084-BD7690A27F60}" type="pres">
      <dgm:prSet presAssocID="{83BD93D6-7A0E-4A44-AB13-3EF7F617E4A6}" presName="Name37" presStyleLbl="parChTrans1D4" presStyleIdx="5" presStyleCnt="23"/>
      <dgm:spPr/>
    </dgm:pt>
    <dgm:pt modelId="{D00C3EFE-24A9-474F-A311-8B3689436531}" type="pres">
      <dgm:prSet presAssocID="{97751B3B-AFD0-4B86-8DBD-7987C92C6E32}" presName="hierRoot2" presStyleCnt="0">
        <dgm:presLayoutVars>
          <dgm:hierBranch val="init"/>
        </dgm:presLayoutVars>
      </dgm:prSet>
      <dgm:spPr/>
    </dgm:pt>
    <dgm:pt modelId="{97E76F27-4B03-412B-BE11-A7A8058031CA}" type="pres">
      <dgm:prSet presAssocID="{97751B3B-AFD0-4B86-8DBD-7987C92C6E32}" presName="rootComposite" presStyleCnt="0"/>
      <dgm:spPr/>
    </dgm:pt>
    <dgm:pt modelId="{90ACCBF6-8CCD-45FE-A2D6-178440392A5C}" type="pres">
      <dgm:prSet presAssocID="{97751B3B-AFD0-4B86-8DBD-7987C92C6E32}" presName="rootText" presStyleLbl="node4" presStyleIdx="5" presStyleCnt="23" custLinFactNeighborY="-7280">
        <dgm:presLayoutVars>
          <dgm:chPref val="3"/>
        </dgm:presLayoutVars>
      </dgm:prSet>
      <dgm:spPr/>
    </dgm:pt>
    <dgm:pt modelId="{0F1C5F80-8969-4F48-BD14-9FA94170E033}" type="pres">
      <dgm:prSet presAssocID="{97751B3B-AFD0-4B86-8DBD-7987C92C6E32}" presName="rootConnector" presStyleLbl="node4" presStyleIdx="5" presStyleCnt="23"/>
      <dgm:spPr/>
    </dgm:pt>
    <dgm:pt modelId="{39B9E323-7C7C-438C-8EDD-E99CB8E8E4EF}" type="pres">
      <dgm:prSet presAssocID="{97751B3B-AFD0-4B86-8DBD-7987C92C6E32}" presName="hierChild4" presStyleCnt="0"/>
      <dgm:spPr/>
    </dgm:pt>
    <dgm:pt modelId="{0F884F7E-E24C-4F19-804E-E06856C1A023}" type="pres">
      <dgm:prSet presAssocID="{97751B3B-AFD0-4B86-8DBD-7987C92C6E32}" presName="hierChild5" presStyleCnt="0"/>
      <dgm:spPr/>
    </dgm:pt>
    <dgm:pt modelId="{2614C827-FB91-461A-A733-F1E13A0FE48A}" type="pres">
      <dgm:prSet presAssocID="{8C988897-87B7-4517-9047-DFA7A88C38ED}" presName="hierChild5" presStyleCnt="0"/>
      <dgm:spPr/>
    </dgm:pt>
    <dgm:pt modelId="{9DFDC392-D7E9-4EFA-91C1-637CE0F3CB14}" type="pres">
      <dgm:prSet presAssocID="{FC5B815B-FF58-4D5A-AAF8-9B53BC2C56D1}" presName="Name37" presStyleLbl="parChTrans1D3" presStyleIdx="2" presStyleCnt="6"/>
      <dgm:spPr/>
    </dgm:pt>
    <dgm:pt modelId="{DFD22D27-3764-4CA2-B096-21DF26393BD4}" type="pres">
      <dgm:prSet presAssocID="{DBDCEDFB-608B-4A42-8D1C-E32FF44E1AA3}" presName="hierRoot2" presStyleCnt="0">
        <dgm:presLayoutVars>
          <dgm:hierBranch val="init"/>
        </dgm:presLayoutVars>
      </dgm:prSet>
      <dgm:spPr/>
    </dgm:pt>
    <dgm:pt modelId="{58AA9A03-210D-4578-A296-A1D511C79BAC}" type="pres">
      <dgm:prSet presAssocID="{DBDCEDFB-608B-4A42-8D1C-E32FF44E1AA3}" presName="rootComposite" presStyleCnt="0"/>
      <dgm:spPr/>
    </dgm:pt>
    <dgm:pt modelId="{3D20D6D5-CB2A-4FD8-8A02-4CBAE6D30986}" type="pres">
      <dgm:prSet presAssocID="{DBDCEDFB-608B-4A42-8D1C-E32FF44E1AA3}" presName="rootText" presStyleLbl="node3" presStyleIdx="2" presStyleCnt="6">
        <dgm:presLayoutVars>
          <dgm:chPref val="3"/>
        </dgm:presLayoutVars>
      </dgm:prSet>
      <dgm:spPr/>
    </dgm:pt>
    <dgm:pt modelId="{8B94B0B0-A045-4682-A903-89880EC43062}" type="pres">
      <dgm:prSet presAssocID="{DBDCEDFB-608B-4A42-8D1C-E32FF44E1AA3}" presName="rootConnector" presStyleLbl="node3" presStyleIdx="2" presStyleCnt="6"/>
      <dgm:spPr/>
    </dgm:pt>
    <dgm:pt modelId="{0C33098A-1235-4E7D-8915-AFA963EB0D56}" type="pres">
      <dgm:prSet presAssocID="{DBDCEDFB-608B-4A42-8D1C-E32FF44E1AA3}" presName="hierChild4" presStyleCnt="0"/>
      <dgm:spPr/>
    </dgm:pt>
    <dgm:pt modelId="{2F800CCF-7503-4A00-A283-240AB8218231}" type="pres">
      <dgm:prSet presAssocID="{3079458F-EC6F-4B3A-8344-DD5C1AE44210}" presName="Name37" presStyleLbl="parChTrans1D4" presStyleIdx="6" presStyleCnt="23"/>
      <dgm:spPr/>
    </dgm:pt>
    <dgm:pt modelId="{35EF278C-3CC5-4AAA-A0E8-0339E9483A9E}" type="pres">
      <dgm:prSet presAssocID="{76443041-A797-4A4D-9403-DAD82DDF176A}" presName="hierRoot2" presStyleCnt="0">
        <dgm:presLayoutVars>
          <dgm:hierBranch val="init"/>
        </dgm:presLayoutVars>
      </dgm:prSet>
      <dgm:spPr/>
    </dgm:pt>
    <dgm:pt modelId="{06CCCCBE-CAA9-4002-AFCA-9161D075CE2F}" type="pres">
      <dgm:prSet presAssocID="{76443041-A797-4A4D-9403-DAD82DDF176A}" presName="rootComposite" presStyleCnt="0"/>
      <dgm:spPr/>
    </dgm:pt>
    <dgm:pt modelId="{DD5A3028-6030-45E1-8FF0-3EE5731A4FB0}" type="pres">
      <dgm:prSet presAssocID="{76443041-A797-4A4D-9403-DAD82DDF176A}" presName="rootText" presStyleLbl="node4" presStyleIdx="6" presStyleCnt="23">
        <dgm:presLayoutVars>
          <dgm:chPref val="3"/>
        </dgm:presLayoutVars>
      </dgm:prSet>
      <dgm:spPr/>
    </dgm:pt>
    <dgm:pt modelId="{063F868D-2DDA-456A-9D63-024C5531A8F0}" type="pres">
      <dgm:prSet presAssocID="{76443041-A797-4A4D-9403-DAD82DDF176A}" presName="rootConnector" presStyleLbl="node4" presStyleIdx="6" presStyleCnt="23"/>
      <dgm:spPr/>
    </dgm:pt>
    <dgm:pt modelId="{EC519195-8D77-478A-BCA8-BCF8C154C03F}" type="pres">
      <dgm:prSet presAssocID="{76443041-A797-4A4D-9403-DAD82DDF176A}" presName="hierChild4" presStyleCnt="0"/>
      <dgm:spPr/>
    </dgm:pt>
    <dgm:pt modelId="{37A9F8C6-A63D-4634-86B0-35DCEE5BDE27}" type="pres">
      <dgm:prSet presAssocID="{76443041-A797-4A4D-9403-DAD82DDF176A}" presName="hierChild5" presStyleCnt="0"/>
      <dgm:spPr/>
    </dgm:pt>
    <dgm:pt modelId="{EC1D73F8-57E9-457F-8654-686756042FBD}" type="pres">
      <dgm:prSet presAssocID="{DF6A2EB0-C2F6-4627-BDB3-F3F1C0532CDD}" presName="Name37" presStyleLbl="parChTrans1D4" presStyleIdx="7" presStyleCnt="23"/>
      <dgm:spPr/>
    </dgm:pt>
    <dgm:pt modelId="{F36DA18F-26A3-4078-9C98-F3F4E8A353F7}" type="pres">
      <dgm:prSet presAssocID="{4DC35318-58C7-4147-8858-E425136D1683}" presName="hierRoot2" presStyleCnt="0">
        <dgm:presLayoutVars>
          <dgm:hierBranch val="init"/>
        </dgm:presLayoutVars>
      </dgm:prSet>
      <dgm:spPr/>
    </dgm:pt>
    <dgm:pt modelId="{BADB6371-B89A-4B2C-AF93-121404DD68A7}" type="pres">
      <dgm:prSet presAssocID="{4DC35318-58C7-4147-8858-E425136D1683}" presName="rootComposite" presStyleCnt="0"/>
      <dgm:spPr/>
    </dgm:pt>
    <dgm:pt modelId="{15AF2AF8-D5F0-498F-90EB-7B4704CB01AF}" type="pres">
      <dgm:prSet presAssocID="{4DC35318-58C7-4147-8858-E425136D1683}" presName="rootText" presStyleLbl="node4" presStyleIdx="7" presStyleCnt="23" custLinFactNeighborY="-7280">
        <dgm:presLayoutVars>
          <dgm:chPref val="3"/>
        </dgm:presLayoutVars>
      </dgm:prSet>
      <dgm:spPr/>
    </dgm:pt>
    <dgm:pt modelId="{02C4CFB1-59D2-4729-AA7C-CF68C37FF919}" type="pres">
      <dgm:prSet presAssocID="{4DC35318-58C7-4147-8858-E425136D1683}" presName="rootConnector" presStyleLbl="node4" presStyleIdx="7" presStyleCnt="23"/>
      <dgm:spPr/>
    </dgm:pt>
    <dgm:pt modelId="{5024C93A-081A-491C-8EC4-AEFE818E283E}" type="pres">
      <dgm:prSet presAssocID="{4DC35318-58C7-4147-8858-E425136D1683}" presName="hierChild4" presStyleCnt="0"/>
      <dgm:spPr/>
    </dgm:pt>
    <dgm:pt modelId="{C1A2B2B3-AE3B-40CE-AB86-45DDF7B9BA72}" type="pres">
      <dgm:prSet presAssocID="{4DC35318-58C7-4147-8858-E425136D1683}" presName="hierChild5" presStyleCnt="0"/>
      <dgm:spPr/>
    </dgm:pt>
    <dgm:pt modelId="{4FB7D99D-33FC-40B1-B378-A6CD35922869}" type="pres">
      <dgm:prSet presAssocID="{0C92A346-77A6-40EF-901B-1E483C88E84C}" presName="Name37" presStyleLbl="parChTrans1D4" presStyleIdx="8" presStyleCnt="23"/>
      <dgm:spPr/>
    </dgm:pt>
    <dgm:pt modelId="{393E044A-EC03-4EA6-8A83-F425C4EB90B0}" type="pres">
      <dgm:prSet presAssocID="{4C4BD85B-0727-42BB-9783-8216A795E60F}" presName="hierRoot2" presStyleCnt="0">
        <dgm:presLayoutVars>
          <dgm:hierBranch val="init"/>
        </dgm:presLayoutVars>
      </dgm:prSet>
      <dgm:spPr/>
    </dgm:pt>
    <dgm:pt modelId="{69100B25-913B-4A59-BC47-06D1E52E09D0}" type="pres">
      <dgm:prSet presAssocID="{4C4BD85B-0727-42BB-9783-8216A795E60F}" presName="rootComposite" presStyleCnt="0"/>
      <dgm:spPr/>
    </dgm:pt>
    <dgm:pt modelId="{85ABCF13-624C-447D-8FF5-0CE2E7720E42}" type="pres">
      <dgm:prSet presAssocID="{4C4BD85B-0727-42BB-9783-8216A795E60F}" presName="rootText" presStyleLbl="node4" presStyleIdx="8" presStyleCnt="23" custLinFactNeighborY="-7280">
        <dgm:presLayoutVars>
          <dgm:chPref val="3"/>
        </dgm:presLayoutVars>
      </dgm:prSet>
      <dgm:spPr/>
    </dgm:pt>
    <dgm:pt modelId="{63D41D46-AC02-4BF1-94A7-5E086860FB7F}" type="pres">
      <dgm:prSet presAssocID="{4C4BD85B-0727-42BB-9783-8216A795E60F}" presName="rootConnector" presStyleLbl="node4" presStyleIdx="8" presStyleCnt="23"/>
      <dgm:spPr/>
    </dgm:pt>
    <dgm:pt modelId="{B8280FAA-ADC6-436D-9D7D-DF198B2E1D9D}" type="pres">
      <dgm:prSet presAssocID="{4C4BD85B-0727-42BB-9783-8216A795E60F}" presName="hierChild4" presStyleCnt="0"/>
      <dgm:spPr/>
    </dgm:pt>
    <dgm:pt modelId="{3280F800-AE09-485D-9A29-8ED5910378E3}" type="pres">
      <dgm:prSet presAssocID="{4C4BD85B-0727-42BB-9783-8216A795E60F}" presName="hierChild5" presStyleCnt="0"/>
      <dgm:spPr/>
    </dgm:pt>
    <dgm:pt modelId="{B08448DC-351C-4B03-9C3B-2CBC8AADAC90}" type="pres">
      <dgm:prSet presAssocID="{EE3A1FAB-7C4B-4877-92C0-F65374159DFF}" presName="Name37" presStyleLbl="parChTrans1D4" presStyleIdx="9" presStyleCnt="23"/>
      <dgm:spPr/>
    </dgm:pt>
    <dgm:pt modelId="{345CF527-03E6-480C-AB03-66BF200156D1}" type="pres">
      <dgm:prSet presAssocID="{36D2158B-93CC-43DE-AB88-9EFEF1C7063B}" presName="hierRoot2" presStyleCnt="0">
        <dgm:presLayoutVars>
          <dgm:hierBranch val="init"/>
        </dgm:presLayoutVars>
      </dgm:prSet>
      <dgm:spPr/>
    </dgm:pt>
    <dgm:pt modelId="{2D0CD864-AFD9-4856-98B8-D11A5F6F1B6A}" type="pres">
      <dgm:prSet presAssocID="{36D2158B-93CC-43DE-AB88-9EFEF1C7063B}" presName="rootComposite" presStyleCnt="0"/>
      <dgm:spPr/>
    </dgm:pt>
    <dgm:pt modelId="{9FFF4862-2D69-492C-8F56-F0C1D1708546}" type="pres">
      <dgm:prSet presAssocID="{36D2158B-93CC-43DE-AB88-9EFEF1C7063B}" presName="rootText" presStyleLbl="node4" presStyleIdx="9" presStyleCnt="23" custLinFactNeighborY="-7280">
        <dgm:presLayoutVars>
          <dgm:chPref val="3"/>
        </dgm:presLayoutVars>
      </dgm:prSet>
      <dgm:spPr/>
    </dgm:pt>
    <dgm:pt modelId="{14B9B20F-EEAC-49AC-860E-E9C3552832C2}" type="pres">
      <dgm:prSet presAssocID="{36D2158B-93CC-43DE-AB88-9EFEF1C7063B}" presName="rootConnector" presStyleLbl="node4" presStyleIdx="9" presStyleCnt="23"/>
      <dgm:spPr/>
    </dgm:pt>
    <dgm:pt modelId="{E08185D8-2463-4EB5-9FA3-747727B27C7E}" type="pres">
      <dgm:prSet presAssocID="{36D2158B-93CC-43DE-AB88-9EFEF1C7063B}" presName="hierChild4" presStyleCnt="0"/>
      <dgm:spPr/>
    </dgm:pt>
    <dgm:pt modelId="{81A6082A-4446-41C9-BE1F-89BFF025AE28}" type="pres">
      <dgm:prSet presAssocID="{36D2158B-93CC-43DE-AB88-9EFEF1C7063B}" presName="hierChild5" presStyleCnt="0"/>
      <dgm:spPr/>
    </dgm:pt>
    <dgm:pt modelId="{F6798CCF-28BC-4A27-B715-F4CC0F797FAF}" type="pres">
      <dgm:prSet presAssocID="{D96AFAE7-FE68-40D8-82B7-449AF30CCC2B}" presName="Name37" presStyleLbl="parChTrans1D4" presStyleIdx="10" presStyleCnt="23"/>
      <dgm:spPr/>
    </dgm:pt>
    <dgm:pt modelId="{E3595B41-F1EA-4239-BCE9-B93649BC9892}" type="pres">
      <dgm:prSet presAssocID="{A49BBB18-A6FD-44E5-A65B-0C9981C38114}" presName="hierRoot2" presStyleCnt="0">
        <dgm:presLayoutVars>
          <dgm:hierBranch val="init"/>
        </dgm:presLayoutVars>
      </dgm:prSet>
      <dgm:spPr/>
    </dgm:pt>
    <dgm:pt modelId="{ACDE7B0D-E42F-4C9D-A476-4E8F3BA3D7B4}" type="pres">
      <dgm:prSet presAssocID="{A49BBB18-A6FD-44E5-A65B-0C9981C38114}" presName="rootComposite" presStyleCnt="0"/>
      <dgm:spPr/>
    </dgm:pt>
    <dgm:pt modelId="{EA703891-59A3-4402-9351-61C8ECB0EE88}" type="pres">
      <dgm:prSet presAssocID="{A49BBB18-A6FD-44E5-A65B-0C9981C38114}" presName="rootText" presStyleLbl="node4" presStyleIdx="10" presStyleCnt="23" custLinFactNeighborY="-7280">
        <dgm:presLayoutVars>
          <dgm:chPref val="3"/>
        </dgm:presLayoutVars>
      </dgm:prSet>
      <dgm:spPr/>
    </dgm:pt>
    <dgm:pt modelId="{E63178FE-4D58-419B-A8C9-74DAD9516F21}" type="pres">
      <dgm:prSet presAssocID="{A49BBB18-A6FD-44E5-A65B-0C9981C38114}" presName="rootConnector" presStyleLbl="node4" presStyleIdx="10" presStyleCnt="23"/>
      <dgm:spPr/>
    </dgm:pt>
    <dgm:pt modelId="{AA92F777-F97B-47D1-8CCD-352019F5C26E}" type="pres">
      <dgm:prSet presAssocID="{A49BBB18-A6FD-44E5-A65B-0C9981C38114}" presName="hierChild4" presStyleCnt="0"/>
      <dgm:spPr/>
    </dgm:pt>
    <dgm:pt modelId="{791AE345-F98B-4A18-A042-252ADF423185}" type="pres">
      <dgm:prSet presAssocID="{A49BBB18-A6FD-44E5-A65B-0C9981C38114}" presName="hierChild5" presStyleCnt="0"/>
      <dgm:spPr/>
    </dgm:pt>
    <dgm:pt modelId="{1A834F76-1D49-4F9C-9A9B-722FDD68DB58}" type="pres">
      <dgm:prSet presAssocID="{3420DA78-1189-4823-8264-4E3D7CD5A180}" presName="Name37" presStyleLbl="parChTrans1D4" presStyleIdx="11" presStyleCnt="23"/>
      <dgm:spPr/>
    </dgm:pt>
    <dgm:pt modelId="{D40281E0-08B9-40E5-930C-1028722D88DF}" type="pres">
      <dgm:prSet presAssocID="{D0BD1B9D-6FCD-4A08-9C31-03A5F2B41B4F}" presName="hierRoot2" presStyleCnt="0">
        <dgm:presLayoutVars>
          <dgm:hierBranch val="init"/>
        </dgm:presLayoutVars>
      </dgm:prSet>
      <dgm:spPr/>
    </dgm:pt>
    <dgm:pt modelId="{AA3E8930-311B-4605-B0BD-C8E613CDBA6C}" type="pres">
      <dgm:prSet presAssocID="{D0BD1B9D-6FCD-4A08-9C31-03A5F2B41B4F}" presName="rootComposite" presStyleCnt="0"/>
      <dgm:spPr/>
    </dgm:pt>
    <dgm:pt modelId="{AECCE8B3-DA7B-4E76-B030-79E4CD768A70}" type="pres">
      <dgm:prSet presAssocID="{D0BD1B9D-6FCD-4A08-9C31-03A5F2B41B4F}" presName="rootText" presStyleLbl="node4" presStyleIdx="11" presStyleCnt="23" custLinFactNeighborY="-7280">
        <dgm:presLayoutVars>
          <dgm:chPref val="3"/>
        </dgm:presLayoutVars>
      </dgm:prSet>
      <dgm:spPr/>
    </dgm:pt>
    <dgm:pt modelId="{8DF8AE0C-89AC-401A-8557-0836A5A82525}" type="pres">
      <dgm:prSet presAssocID="{D0BD1B9D-6FCD-4A08-9C31-03A5F2B41B4F}" presName="rootConnector" presStyleLbl="node4" presStyleIdx="11" presStyleCnt="23"/>
      <dgm:spPr/>
    </dgm:pt>
    <dgm:pt modelId="{3B76DEF5-551C-4C15-AF5D-D594ED0B4EAD}" type="pres">
      <dgm:prSet presAssocID="{D0BD1B9D-6FCD-4A08-9C31-03A5F2B41B4F}" presName="hierChild4" presStyleCnt="0"/>
      <dgm:spPr/>
    </dgm:pt>
    <dgm:pt modelId="{A15BD53F-C98A-463C-9712-61DB06D719C7}" type="pres">
      <dgm:prSet presAssocID="{D0BD1B9D-6FCD-4A08-9C31-03A5F2B41B4F}" presName="hierChild5" presStyleCnt="0"/>
      <dgm:spPr/>
    </dgm:pt>
    <dgm:pt modelId="{81EC3E32-9936-4258-BA62-6F3125D3B237}" type="pres">
      <dgm:prSet presAssocID="{CF2BD7BF-C222-47C6-8576-73591C998929}" presName="Name37" presStyleLbl="parChTrans1D4" presStyleIdx="12" presStyleCnt="23"/>
      <dgm:spPr/>
    </dgm:pt>
    <dgm:pt modelId="{494F5940-2A27-42CB-9C8C-5D193B8E3332}" type="pres">
      <dgm:prSet presAssocID="{D3EAEA6F-8226-4F40-AAE6-0C94EE3EF556}" presName="hierRoot2" presStyleCnt="0">
        <dgm:presLayoutVars>
          <dgm:hierBranch val="init"/>
        </dgm:presLayoutVars>
      </dgm:prSet>
      <dgm:spPr/>
    </dgm:pt>
    <dgm:pt modelId="{5F2F2916-F94D-447D-A41A-D30ED22DAF9C}" type="pres">
      <dgm:prSet presAssocID="{D3EAEA6F-8226-4F40-AAE6-0C94EE3EF556}" presName="rootComposite" presStyleCnt="0"/>
      <dgm:spPr/>
    </dgm:pt>
    <dgm:pt modelId="{5198AF0E-3D25-4505-8815-4D02133E968A}" type="pres">
      <dgm:prSet presAssocID="{D3EAEA6F-8226-4F40-AAE6-0C94EE3EF556}" presName="rootText" presStyleLbl="node4" presStyleIdx="12" presStyleCnt="23" custLinFactNeighborY="-7280">
        <dgm:presLayoutVars>
          <dgm:chPref val="3"/>
        </dgm:presLayoutVars>
      </dgm:prSet>
      <dgm:spPr/>
    </dgm:pt>
    <dgm:pt modelId="{7D9A8CB1-0CBA-42F7-9C9F-8DF225EEF363}" type="pres">
      <dgm:prSet presAssocID="{D3EAEA6F-8226-4F40-AAE6-0C94EE3EF556}" presName="rootConnector" presStyleLbl="node4" presStyleIdx="12" presStyleCnt="23"/>
      <dgm:spPr/>
    </dgm:pt>
    <dgm:pt modelId="{9BDD3803-6DB7-47AF-A5CF-F85FE242E4E4}" type="pres">
      <dgm:prSet presAssocID="{D3EAEA6F-8226-4F40-AAE6-0C94EE3EF556}" presName="hierChild4" presStyleCnt="0"/>
      <dgm:spPr/>
    </dgm:pt>
    <dgm:pt modelId="{C4E4A706-7B07-47D2-B868-05536D1C3EB9}" type="pres">
      <dgm:prSet presAssocID="{D3EAEA6F-8226-4F40-AAE6-0C94EE3EF556}" presName="hierChild5" presStyleCnt="0"/>
      <dgm:spPr/>
    </dgm:pt>
    <dgm:pt modelId="{88F4D8B3-9B3B-4B58-985A-898FFA141EE3}" type="pres">
      <dgm:prSet presAssocID="{DBDCEDFB-608B-4A42-8D1C-E32FF44E1AA3}" presName="hierChild5" presStyleCnt="0"/>
      <dgm:spPr/>
    </dgm:pt>
    <dgm:pt modelId="{782F390F-3643-443C-9DED-152C7AA209BB}" type="pres">
      <dgm:prSet presAssocID="{E7F791D8-DB8B-4941-8E11-8F020F632050}" presName="hierChild5" presStyleCnt="0"/>
      <dgm:spPr/>
    </dgm:pt>
    <dgm:pt modelId="{6E82193E-6543-4E49-84CB-9B5D897936A4}" type="pres">
      <dgm:prSet presAssocID="{50F89145-1688-493A-881E-D47538A1E55B}" presName="Name37" presStyleLbl="parChTrans1D2" presStyleIdx="1" presStyleCnt="2"/>
      <dgm:spPr/>
    </dgm:pt>
    <dgm:pt modelId="{CCB2737F-91A8-4B4A-9647-72FFF91EE67B}" type="pres">
      <dgm:prSet presAssocID="{54888C6A-2E62-42EC-ABE3-0DF87A629214}" presName="hierRoot2" presStyleCnt="0">
        <dgm:presLayoutVars>
          <dgm:hierBranch val="init"/>
        </dgm:presLayoutVars>
      </dgm:prSet>
      <dgm:spPr/>
    </dgm:pt>
    <dgm:pt modelId="{A32DED1E-AA8C-4443-A8B8-C74028D4C049}" type="pres">
      <dgm:prSet presAssocID="{54888C6A-2E62-42EC-ABE3-0DF87A629214}" presName="rootComposite" presStyleCnt="0"/>
      <dgm:spPr/>
    </dgm:pt>
    <dgm:pt modelId="{BA7F7D44-6199-4026-A414-99CBB0B6525A}" type="pres">
      <dgm:prSet presAssocID="{54888C6A-2E62-42EC-ABE3-0DF87A629214}" presName="rootText" presStyleLbl="node2" presStyleIdx="1" presStyleCnt="2">
        <dgm:presLayoutVars>
          <dgm:chPref val="3"/>
        </dgm:presLayoutVars>
      </dgm:prSet>
      <dgm:spPr/>
    </dgm:pt>
    <dgm:pt modelId="{CAD708EC-D241-4DCA-A9E7-102D8408B684}" type="pres">
      <dgm:prSet presAssocID="{54888C6A-2E62-42EC-ABE3-0DF87A629214}" presName="rootConnector" presStyleLbl="node2" presStyleIdx="1" presStyleCnt="2"/>
      <dgm:spPr/>
    </dgm:pt>
    <dgm:pt modelId="{0CAB6CC0-8EB8-495E-AA0F-DE90BA34CC65}" type="pres">
      <dgm:prSet presAssocID="{54888C6A-2E62-42EC-ABE3-0DF87A629214}" presName="hierChild4" presStyleCnt="0"/>
      <dgm:spPr/>
    </dgm:pt>
    <dgm:pt modelId="{95308955-17D6-43F3-99DD-85B0F457CC6A}" type="pres">
      <dgm:prSet presAssocID="{7C6CCB63-A967-4C87-94BE-1382925217CD}" presName="Name37" presStyleLbl="parChTrans1D3" presStyleIdx="3" presStyleCnt="6"/>
      <dgm:spPr/>
    </dgm:pt>
    <dgm:pt modelId="{BF02387D-9603-48B9-80D4-7CC1B395F388}" type="pres">
      <dgm:prSet presAssocID="{0D6DE103-5F19-4F21-AF6F-B55ED5F6FC89}" presName="hierRoot2" presStyleCnt="0">
        <dgm:presLayoutVars>
          <dgm:hierBranch val="init"/>
        </dgm:presLayoutVars>
      </dgm:prSet>
      <dgm:spPr/>
    </dgm:pt>
    <dgm:pt modelId="{65A0286F-EB29-406D-8CE1-0923D5C32407}" type="pres">
      <dgm:prSet presAssocID="{0D6DE103-5F19-4F21-AF6F-B55ED5F6FC89}" presName="rootComposite" presStyleCnt="0"/>
      <dgm:spPr/>
    </dgm:pt>
    <dgm:pt modelId="{E5A21C22-57A1-4FF6-8FF7-2D27BC5935DC}" type="pres">
      <dgm:prSet presAssocID="{0D6DE103-5F19-4F21-AF6F-B55ED5F6FC89}" presName="rootText" presStyleLbl="node3" presStyleIdx="3" presStyleCnt="6">
        <dgm:presLayoutVars>
          <dgm:chPref val="3"/>
        </dgm:presLayoutVars>
      </dgm:prSet>
      <dgm:spPr/>
    </dgm:pt>
    <dgm:pt modelId="{79144865-3B4A-444C-AEA8-09D3B2F37F0F}" type="pres">
      <dgm:prSet presAssocID="{0D6DE103-5F19-4F21-AF6F-B55ED5F6FC89}" presName="rootConnector" presStyleLbl="node3" presStyleIdx="3" presStyleCnt="6"/>
      <dgm:spPr/>
    </dgm:pt>
    <dgm:pt modelId="{4C26B355-9DC2-466A-8FC3-2F8AC1F118ED}" type="pres">
      <dgm:prSet presAssocID="{0D6DE103-5F19-4F21-AF6F-B55ED5F6FC89}" presName="hierChild4" presStyleCnt="0"/>
      <dgm:spPr/>
    </dgm:pt>
    <dgm:pt modelId="{F07CA32F-02CF-426B-B580-0A590166208E}" type="pres">
      <dgm:prSet presAssocID="{0D6DE103-5F19-4F21-AF6F-B55ED5F6FC89}" presName="hierChild5" presStyleCnt="0"/>
      <dgm:spPr/>
    </dgm:pt>
    <dgm:pt modelId="{26B8BE0C-B6B2-41D8-9DFA-F1DA7BCA117F}" type="pres">
      <dgm:prSet presAssocID="{1FB87FED-6972-430F-AC0C-71746CE494E0}" presName="Name37" presStyleLbl="parChTrans1D3" presStyleIdx="4" presStyleCnt="6"/>
      <dgm:spPr/>
    </dgm:pt>
    <dgm:pt modelId="{AB1EF0A5-1D70-43F0-82CC-EF14CE76CFC0}" type="pres">
      <dgm:prSet presAssocID="{CEFE54B5-1BF0-40D8-A238-41A7896496D8}" presName="hierRoot2" presStyleCnt="0">
        <dgm:presLayoutVars>
          <dgm:hierBranch val="init"/>
        </dgm:presLayoutVars>
      </dgm:prSet>
      <dgm:spPr/>
    </dgm:pt>
    <dgm:pt modelId="{41F6E431-DC8B-416E-A517-9DD10D1E79A3}" type="pres">
      <dgm:prSet presAssocID="{CEFE54B5-1BF0-40D8-A238-41A7896496D8}" presName="rootComposite" presStyleCnt="0"/>
      <dgm:spPr/>
    </dgm:pt>
    <dgm:pt modelId="{E180F611-3F02-473E-B8B3-2F7FCC74AF64}" type="pres">
      <dgm:prSet presAssocID="{CEFE54B5-1BF0-40D8-A238-41A7896496D8}" presName="rootText" presStyleLbl="node3" presStyleIdx="4" presStyleCnt="6">
        <dgm:presLayoutVars>
          <dgm:chPref val="3"/>
        </dgm:presLayoutVars>
      </dgm:prSet>
      <dgm:spPr/>
    </dgm:pt>
    <dgm:pt modelId="{D8C76C5F-CACD-4BE9-9210-01DA99ABE337}" type="pres">
      <dgm:prSet presAssocID="{CEFE54B5-1BF0-40D8-A238-41A7896496D8}" presName="rootConnector" presStyleLbl="node3" presStyleIdx="4" presStyleCnt="6"/>
      <dgm:spPr/>
    </dgm:pt>
    <dgm:pt modelId="{94DF78DD-6BB2-4482-A3AF-4FDE94ED955D}" type="pres">
      <dgm:prSet presAssocID="{CEFE54B5-1BF0-40D8-A238-41A7896496D8}" presName="hierChild4" presStyleCnt="0"/>
      <dgm:spPr/>
    </dgm:pt>
    <dgm:pt modelId="{5334F2DE-F338-4A4E-8CF6-77E2FD3A717B}" type="pres">
      <dgm:prSet presAssocID="{3D973D13-7791-456C-B9BE-CDB53C40AD0D}" presName="Name37" presStyleLbl="parChTrans1D4" presStyleIdx="13" presStyleCnt="23"/>
      <dgm:spPr/>
    </dgm:pt>
    <dgm:pt modelId="{A9A5D547-0429-4E12-97BC-9BF78EDB3169}" type="pres">
      <dgm:prSet presAssocID="{82AAA354-A7CE-4AB1-99AB-2B651718BBA4}" presName="hierRoot2" presStyleCnt="0">
        <dgm:presLayoutVars>
          <dgm:hierBranch val="init"/>
        </dgm:presLayoutVars>
      </dgm:prSet>
      <dgm:spPr/>
    </dgm:pt>
    <dgm:pt modelId="{5AC9DEDE-4613-4EF1-B6D6-F51276FC13AE}" type="pres">
      <dgm:prSet presAssocID="{82AAA354-A7CE-4AB1-99AB-2B651718BBA4}" presName="rootComposite" presStyleCnt="0"/>
      <dgm:spPr/>
    </dgm:pt>
    <dgm:pt modelId="{72BE5304-752C-4167-B03F-5A6E23A69990}" type="pres">
      <dgm:prSet presAssocID="{82AAA354-A7CE-4AB1-99AB-2B651718BBA4}" presName="rootText" presStyleLbl="node4" presStyleIdx="13" presStyleCnt="23">
        <dgm:presLayoutVars>
          <dgm:chPref val="3"/>
        </dgm:presLayoutVars>
      </dgm:prSet>
      <dgm:spPr/>
    </dgm:pt>
    <dgm:pt modelId="{715A2952-F3DA-4A02-ACE8-7C57C9B40431}" type="pres">
      <dgm:prSet presAssocID="{82AAA354-A7CE-4AB1-99AB-2B651718BBA4}" presName="rootConnector" presStyleLbl="node4" presStyleIdx="13" presStyleCnt="23"/>
      <dgm:spPr/>
    </dgm:pt>
    <dgm:pt modelId="{13D1BA56-B39D-49BF-BF44-0E6A02BF521B}" type="pres">
      <dgm:prSet presAssocID="{82AAA354-A7CE-4AB1-99AB-2B651718BBA4}" presName="hierChild4" presStyleCnt="0"/>
      <dgm:spPr/>
    </dgm:pt>
    <dgm:pt modelId="{110A4BBE-9AD3-4F88-805A-74C44471A4C4}" type="pres">
      <dgm:prSet presAssocID="{82AAA354-A7CE-4AB1-99AB-2B651718BBA4}" presName="hierChild5" presStyleCnt="0"/>
      <dgm:spPr/>
    </dgm:pt>
    <dgm:pt modelId="{6C59BE90-8A13-4704-9367-E91AC7A75F0B}" type="pres">
      <dgm:prSet presAssocID="{30F82C44-F97D-491F-8381-068EEDDCD21B}" presName="Name37" presStyleLbl="parChTrans1D4" presStyleIdx="14" presStyleCnt="23"/>
      <dgm:spPr/>
    </dgm:pt>
    <dgm:pt modelId="{0F770B02-F6D0-4D7B-AD59-E4DDAA7BBE25}" type="pres">
      <dgm:prSet presAssocID="{4D793E25-9924-492C-B00A-32F155E6050A}" presName="hierRoot2" presStyleCnt="0">
        <dgm:presLayoutVars>
          <dgm:hierBranch val="init"/>
        </dgm:presLayoutVars>
      </dgm:prSet>
      <dgm:spPr/>
    </dgm:pt>
    <dgm:pt modelId="{785C12E3-7B0C-4835-B07F-FD69D1AC0571}" type="pres">
      <dgm:prSet presAssocID="{4D793E25-9924-492C-B00A-32F155E6050A}" presName="rootComposite" presStyleCnt="0"/>
      <dgm:spPr/>
    </dgm:pt>
    <dgm:pt modelId="{EF7362E5-E6E8-41B8-BEAF-EEAD6195ADB6}" type="pres">
      <dgm:prSet presAssocID="{4D793E25-9924-492C-B00A-32F155E6050A}" presName="rootText" presStyleLbl="node4" presStyleIdx="14" presStyleCnt="23" custLinFactNeighborY="-7280">
        <dgm:presLayoutVars>
          <dgm:chPref val="3"/>
        </dgm:presLayoutVars>
      </dgm:prSet>
      <dgm:spPr/>
    </dgm:pt>
    <dgm:pt modelId="{D8FC26CB-72A7-4E2F-A201-F28F11841DA8}" type="pres">
      <dgm:prSet presAssocID="{4D793E25-9924-492C-B00A-32F155E6050A}" presName="rootConnector" presStyleLbl="node4" presStyleIdx="14" presStyleCnt="23"/>
      <dgm:spPr/>
    </dgm:pt>
    <dgm:pt modelId="{668A6F47-67D9-43B5-A34A-5E43C24DFC0F}" type="pres">
      <dgm:prSet presAssocID="{4D793E25-9924-492C-B00A-32F155E6050A}" presName="hierChild4" presStyleCnt="0"/>
      <dgm:spPr/>
    </dgm:pt>
    <dgm:pt modelId="{2CE67411-D5FF-4332-A41B-0D2F8BDC1639}" type="pres">
      <dgm:prSet presAssocID="{4D793E25-9924-492C-B00A-32F155E6050A}" presName="hierChild5" presStyleCnt="0"/>
      <dgm:spPr/>
    </dgm:pt>
    <dgm:pt modelId="{281EE699-AAC5-4334-987D-753B1F4AC9A0}" type="pres">
      <dgm:prSet presAssocID="{D1805DA1-904F-4B00-AF8A-FF206D51C6A2}" presName="Name37" presStyleLbl="parChTrans1D4" presStyleIdx="15" presStyleCnt="23"/>
      <dgm:spPr/>
    </dgm:pt>
    <dgm:pt modelId="{95B9E142-D57D-4228-AF03-738B1632E56F}" type="pres">
      <dgm:prSet presAssocID="{761A1E22-8C8A-4152-B1C8-4F9F35F000B9}" presName="hierRoot2" presStyleCnt="0">
        <dgm:presLayoutVars>
          <dgm:hierBranch val="init"/>
        </dgm:presLayoutVars>
      </dgm:prSet>
      <dgm:spPr/>
    </dgm:pt>
    <dgm:pt modelId="{81E6054B-790D-4C44-8FD7-34D4BE71CA27}" type="pres">
      <dgm:prSet presAssocID="{761A1E22-8C8A-4152-B1C8-4F9F35F000B9}" presName="rootComposite" presStyleCnt="0"/>
      <dgm:spPr/>
    </dgm:pt>
    <dgm:pt modelId="{71B521A9-878F-41A1-8364-290A0A9B4615}" type="pres">
      <dgm:prSet presAssocID="{761A1E22-8C8A-4152-B1C8-4F9F35F000B9}" presName="rootText" presStyleLbl="node4" presStyleIdx="15" presStyleCnt="23" custLinFactNeighborY="-7280">
        <dgm:presLayoutVars>
          <dgm:chPref val="3"/>
        </dgm:presLayoutVars>
      </dgm:prSet>
      <dgm:spPr/>
    </dgm:pt>
    <dgm:pt modelId="{17B00065-1171-40DE-9B0F-689010D7168B}" type="pres">
      <dgm:prSet presAssocID="{761A1E22-8C8A-4152-B1C8-4F9F35F000B9}" presName="rootConnector" presStyleLbl="node4" presStyleIdx="15" presStyleCnt="23"/>
      <dgm:spPr/>
    </dgm:pt>
    <dgm:pt modelId="{404F5DF8-41AD-4139-99FE-8574824C2CB3}" type="pres">
      <dgm:prSet presAssocID="{761A1E22-8C8A-4152-B1C8-4F9F35F000B9}" presName="hierChild4" presStyleCnt="0"/>
      <dgm:spPr/>
    </dgm:pt>
    <dgm:pt modelId="{6470222A-F503-4C23-9548-A2136684682A}" type="pres">
      <dgm:prSet presAssocID="{761A1E22-8C8A-4152-B1C8-4F9F35F000B9}" presName="hierChild5" presStyleCnt="0"/>
      <dgm:spPr/>
    </dgm:pt>
    <dgm:pt modelId="{609D9515-FD68-488F-BAB0-2D65B595BA72}" type="pres">
      <dgm:prSet presAssocID="{0CF47565-496B-452B-A332-F8123452058B}" presName="Name37" presStyleLbl="parChTrans1D4" presStyleIdx="16" presStyleCnt="23"/>
      <dgm:spPr/>
    </dgm:pt>
    <dgm:pt modelId="{98C5906E-33D2-46DE-9D4E-97B6C073748D}" type="pres">
      <dgm:prSet presAssocID="{25EF0883-7505-481B-9361-6A17544145A1}" presName="hierRoot2" presStyleCnt="0">
        <dgm:presLayoutVars>
          <dgm:hierBranch val="init"/>
        </dgm:presLayoutVars>
      </dgm:prSet>
      <dgm:spPr/>
    </dgm:pt>
    <dgm:pt modelId="{BEA75AD3-7E2F-4F0F-B610-5F51985F5B4D}" type="pres">
      <dgm:prSet presAssocID="{25EF0883-7505-481B-9361-6A17544145A1}" presName="rootComposite" presStyleCnt="0"/>
      <dgm:spPr/>
    </dgm:pt>
    <dgm:pt modelId="{FB709349-E6D3-41D4-81B7-0F67304A6EFE}" type="pres">
      <dgm:prSet presAssocID="{25EF0883-7505-481B-9361-6A17544145A1}" presName="rootText" presStyleLbl="node4" presStyleIdx="16" presStyleCnt="23" custLinFactNeighborY="-7280">
        <dgm:presLayoutVars>
          <dgm:chPref val="3"/>
        </dgm:presLayoutVars>
      </dgm:prSet>
      <dgm:spPr/>
    </dgm:pt>
    <dgm:pt modelId="{790C1FBB-4319-4B98-A874-713788B861D2}" type="pres">
      <dgm:prSet presAssocID="{25EF0883-7505-481B-9361-6A17544145A1}" presName="rootConnector" presStyleLbl="node4" presStyleIdx="16" presStyleCnt="23"/>
      <dgm:spPr/>
    </dgm:pt>
    <dgm:pt modelId="{5647D0D9-2DCD-45ED-9A48-FD61173D6EB6}" type="pres">
      <dgm:prSet presAssocID="{25EF0883-7505-481B-9361-6A17544145A1}" presName="hierChild4" presStyleCnt="0"/>
      <dgm:spPr/>
    </dgm:pt>
    <dgm:pt modelId="{12F11F38-F95D-4B7E-BBAA-E023980C9456}" type="pres">
      <dgm:prSet presAssocID="{25EF0883-7505-481B-9361-6A17544145A1}" presName="hierChild5" presStyleCnt="0"/>
      <dgm:spPr/>
    </dgm:pt>
    <dgm:pt modelId="{CB2A7D91-AEA7-4DBA-86ED-7C04CF0853E4}" type="pres">
      <dgm:prSet presAssocID="{3A71DE44-A883-452F-BD5C-5C1232AFF38F}" presName="Name37" presStyleLbl="parChTrans1D4" presStyleIdx="17" presStyleCnt="23"/>
      <dgm:spPr/>
    </dgm:pt>
    <dgm:pt modelId="{194B7055-162D-4894-BCA3-85D7093BB6A5}" type="pres">
      <dgm:prSet presAssocID="{A7195517-ECE8-4D75-B284-DD7FC3A1C483}" presName="hierRoot2" presStyleCnt="0">
        <dgm:presLayoutVars>
          <dgm:hierBranch val="init"/>
        </dgm:presLayoutVars>
      </dgm:prSet>
      <dgm:spPr/>
    </dgm:pt>
    <dgm:pt modelId="{F6E77B86-AA89-46C4-B178-D940D581777E}" type="pres">
      <dgm:prSet presAssocID="{A7195517-ECE8-4D75-B284-DD7FC3A1C483}" presName="rootComposite" presStyleCnt="0"/>
      <dgm:spPr/>
    </dgm:pt>
    <dgm:pt modelId="{A588C842-F20A-4AA8-85DA-6ACC4DA2A93E}" type="pres">
      <dgm:prSet presAssocID="{A7195517-ECE8-4D75-B284-DD7FC3A1C483}" presName="rootText" presStyleLbl="node4" presStyleIdx="17" presStyleCnt="23" custLinFactNeighborY="-7280">
        <dgm:presLayoutVars>
          <dgm:chPref val="3"/>
        </dgm:presLayoutVars>
      </dgm:prSet>
      <dgm:spPr/>
    </dgm:pt>
    <dgm:pt modelId="{FA714205-4B82-446D-B68E-7F652DFBEEDA}" type="pres">
      <dgm:prSet presAssocID="{A7195517-ECE8-4D75-B284-DD7FC3A1C483}" presName="rootConnector" presStyleLbl="node4" presStyleIdx="17" presStyleCnt="23"/>
      <dgm:spPr/>
    </dgm:pt>
    <dgm:pt modelId="{254E1AFD-68D8-4CBA-BAAB-6F6D0100BF33}" type="pres">
      <dgm:prSet presAssocID="{A7195517-ECE8-4D75-B284-DD7FC3A1C483}" presName="hierChild4" presStyleCnt="0"/>
      <dgm:spPr/>
    </dgm:pt>
    <dgm:pt modelId="{CFC8C733-7AB4-49EB-BB58-6B6F51F07E9E}" type="pres">
      <dgm:prSet presAssocID="{A7195517-ECE8-4D75-B284-DD7FC3A1C483}" presName="hierChild5" presStyleCnt="0"/>
      <dgm:spPr/>
    </dgm:pt>
    <dgm:pt modelId="{B3E393F5-FE99-47D6-B42A-2E679DAAB0C6}" type="pres">
      <dgm:prSet presAssocID="{CEFE54B5-1BF0-40D8-A238-41A7896496D8}" presName="hierChild5" presStyleCnt="0"/>
      <dgm:spPr/>
    </dgm:pt>
    <dgm:pt modelId="{CFA625AD-9497-48AF-9C6C-5957C633070F}" type="pres">
      <dgm:prSet presAssocID="{07113328-4499-450A-BD57-0C9620EB93F0}" presName="Name37" presStyleLbl="parChTrans1D3" presStyleIdx="5" presStyleCnt="6"/>
      <dgm:spPr/>
    </dgm:pt>
    <dgm:pt modelId="{8C753FFB-9089-4CFE-B9BC-64EB0D9BBF3C}" type="pres">
      <dgm:prSet presAssocID="{BCF27CF9-0ED4-4612-94D1-DC1E000F8967}" presName="hierRoot2" presStyleCnt="0">
        <dgm:presLayoutVars>
          <dgm:hierBranch val="init"/>
        </dgm:presLayoutVars>
      </dgm:prSet>
      <dgm:spPr/>
    </dgm:pt>
    <dgm:pt modelId="{F4E836A5-8064-46CB-AF76-DCDACFBED23E}" type="pres">
      <dgm:prSet presAssocID="{BCF27CF9-0ED4-4612-94D1-DC1E000F8967}" presName="rootComposite" presStyleCnt="0"/>
      <dgm:spPr/>
    </dgm:pt>
    <dgm:pt modelId="{E46FED4D-3C12-4A9A-8E18-C8A5D62B5747}" type="pres">
      <dgm:prSet presAssocID="{BCF27CF9-0ED4-4612-94D1-DC1E000F8967}" presName="rootText" presStyleLbl="node3" presStyleIdx="5" presStyleCnt="6">
        <dgm:presLayoutVars>
          <dgm:chPref val="3"/>
        </dgm:presLayoutVars>
      </dgm:prSet>
      <dgm:spPr/>
    </dgm:pt>
    <dgm:pt modelId="{752354B9-535E-4F50-8E38-3DC6C7A96331}" type="pres">
      <dgm:prSet presAssocID="{BCF27CF9-0ED4-4612-94D1-DC1E000F8967}" presName="rootConnector" presStyleLbl="node3" presStyleIdx="5" presStyleCnt="6"/>
      <dgm:spPr/>
    </dgm:pt>
    <dgm:pt modelId="{9E9C241D-4509-4336-9D87-17E8349BFD3D}" type="pres">
      <dgm:prSet presAssocID="{BCF27CF9-0ED4-4612-94D1-DC1E000F8967}" presName="hierChild4" presStyleCnt="0"/>
      <dgm:spPr/>
    </dgm:pt>
    <dgm:pt modelId="{7BA5241B-B7BC-41D5-A4B6-BA92111D315F}" type="pres">
      <dgm:prSet presAssocID="{C3907856-EB3C-408D-9DFE-CF514D31CB1C}" presName="Name37" presStyleLbl="parChTrans1D4" presStyleIdx="18" presStyleCnt="23"/>
      <dgm:spPr/>
    </dgm:pt>
    <dgm:pt modelId="{F02CA21B-9BF1-4847-B602-7E3033591FB0}" type="pres">
      <dgm:prSet presAssocID="{A3FC52F2-F011-4737-8EB4-60558773279B}" presName="hierRoot2" presStyleCnt="0">
        <dgm:presLayoutVars>
          <dgm:hierBranch val="init"/>
        </dgm:presLayoutVars>
      </dgm:prSet>
      <dgm:spPr/>
    </dgm:pt>
    <dgm:pt modelId="{610B5BB3-81B4-4650-8FF6-B9772C012216}" type="pres">
      <dgm:prSet presAssocID="{A3FC52F2-F011-4737-8EB4-60558773279B}" presName="rootComposite" presStyleCnt="0"/>
      <dgm:spPr/>
    </dgm:pt>
    <dgm:pt modelId="{AFC578FC-B6A9-4C9D-AE35-14F58D2A2F77}" type="pres">
      <dgm:prSet presAssocID="{A3FC52F2-F011-4737-8EB4-60558773279B}" presName="rootText" presStyleLbl="node4" presStyleIdx="18" presStyleCnt="23">
        <dgm:presLayoutVars>
          <dgm:chPref val="3"/>
        </dgm:presLayoutVars>
      </dgm:prSet>
      <dgm:spPr/>
    </dgm:pt>
    <dgm:pt modelId="{35C3C7FB-1F8E-481E-829E-CA0E11A2D271}" type="pres">
      <dgm:prSet presAssocID="{A3FC52F2-F011-4737-8EB4-60558773279B}" presName="rootConnector" presStyleLbl="node4" presStyleIdx="18" presStyleCnt="23"/>
      <dgm:spPr/>
    </dgm:pt>
    <dgm:pt modelId="{B61ADD01-CAB2-4F58-9E94-92AC852C2E36}" type="pres">
      <dgm:prSet presAssocID="{A3FC52F2-F011-4737-8EB4-60558773279B}" presName="hierChild4" presStyleCnt="0"/>
      <dgm:spPr/>
    </dgm:pt>
    <dgm:pt modelId="{66BD66DD-91D0-4B6A-9A3F-0FF66E38C459}" type="pres">
      <dgm:prSet presAssocID="{A3FC52F2-F011-4737-8EB4-60558773279B}" presName="hierChild5" presStyleCnt="0"/>
      <dgm:spPr/>
    </dgm:pt>
    <dgm:pt modelId="{FBFD23C5-1602-4A2F-AD09-F68FE1E1AEEE}" type="pres">
      <dgm:prSet presAssocID="{0A82C860-67E9-4924-9DCF-FC0CBD8C5010}" presName="Name37" presStyleLbl="parChTrans1D4" presStyleIdx="19" presStyleCnt="23"/>
      <dgm:spPr/>
    </dgm:pt>
    <dgm:pt modelId="{F07F6452-B2BC-410B-8B64-CD15C5F817A3}" type="pres">
      <dgm:prSet presAssocID="{5EEA353E-AFC6-4F20-8D77-AD8593576011}" presName="hierRoot2" presStyleCnt="0">
        <dgm:presLayoutVars>
          <dgm:hierBranch val="init"/>
        </dgm:presLayoutVars>
      </dgm:prSet>
      <dgm:spPr/>
    </dgm:pt>
    <dgm:pt modelId="{B13BAC62-D2A4-4E47-837E-0012EA7255A2}" type="pres">
      <dgm:prSet presAssocID="{5EEA353E-AFC6-4F20-8D77-AD8593576011}" presName="rootComposite" presStyleCnt="0"/>
      <dgm:spPr/>
    </dgm:pt>
    <dgm:pt modelId="{10893535-E133-4731-B500-FBF09351815B}" type="pres">
      <dgm:prSet presAssocID="{5EEA353E-AFC6-4F20-8D77-AD8593576011}" presName="rootText" presStyleLbl="node4" presStyleIdx="19" presStyleCnt="23">
        <dgm:presLayoutVars>
          <dgm:chPref val="3"/>
        </dgm:presLayoutVars>
      </dgm:prSet>
      <dgm:spPr/>
    </dgm:pt>
    <dgm:pt modelId="{02FD715C-0AB6-451C-8869-4951DD781340}" type="pres">
      <dgm:prSet presAssocID="{5EEA353E-AFC6-4F20-8D77-AD8593576011}" presName="rootConnector" presStyleLbl="node4" presStyleIdx="19" presStyleCnt="23"/>
      <dgm:spPr/>
    </dgm:pt>
    <dgm:pt modelId="{29BD2C48-5DD0-4DA0-8A01-DEFBFD05A0DC}" type="pres">
      <dgm:prSet presAssocID="{5EEA353E-AFC6-4F20-8D77-AD8593576011}" presName="hierChild4" presStyleCnt="0"/>
      <dgm:spPr/>
    </dgm:pt>
    <dgm:pt modelId="{5E1CB73C-B68D-44C0-8942-A3C1E8734B65}" type="pres">
      <dgm:prSet presAssocID="{5EEA353E-AFC6-4F20-8D77-AD8593576011}" presName="hierChild5" presStyleCnt="0"/>
      <dgm:spPr/>
    </dgm:pt>
    <dgm:pt modelId="{88564183-0CC7-4C92-BE75-FB1FDE2DB88B}" type="pres">
      <dgm:prSet presAssocID="{CDC32E48-8470-4047-9C56-5574FF1AE61B}" presName="Name37" presStyleLbl="parChTrans1D4" presStyleIdx="20" presStyleCnt="23"/>
      <dgm:spPr/>
    </dgm:pt>
    <dgm:pt modelId="{B6322A0D-4E89-45E2-A6BE-BD8E4882D23F}" type="pres">
      <dgm:prSet presAssocID="{13E6143E-3AE3-4A1E-A16D-C96A8323BDC6}" presName="hierRoot2" presStyleCnt="0">
        <dgm:presLayoutVars>
          <dgm:hierBranch val="init"/>
        </dgm:presLayoutVars>
      </dgm:prSet>
      <dgm:spPr/>
    </dgm:pt>
    <dgm:pt modelId="{12897839-7BAC-4605-9AAA-19E700A97FE0}" type="pres">
      <dgm:prSet presAssocID="{13E6143E-3AE3-4A1E-A16D-C96A8323BDC6}" presName="rootComposite" presStyleCnt="0"/>
      <dgm:spPr/>
    </dgm:pt>
    <dgm:pt modelId="{CD140378-386D-4430-9B29-B12CE2D6642D}" type="pres">
      <dgm:prSet presAssocID="{13E6143E-3AE3-4A1E-A16D-C96A8323BDC6}" presName="rootText" presStyleLbl="node4" presStyleIdx="20" presStyleCnt="23">
        <dgm:presLayoutVars>
          <dgm:chPref val="3"/>
        </dgm:presLayoutVars>
      </dgm:prSet>
      <dgm:spPr/>
    </dgm:pt>
    <dgm:pt modelId="{9922B4C0-BC02-4390-A8A7-3FC24BEE6EB1}" type="pres">
      <dgm:prSet presAssocID="{13E6143E-3AE3-4A1E-A16D-C96A8323BDC6}" presName="rootConnector" presStyleLbl="node4" presStyleIdx="20" presStyleCnt="23"/>
      <dgm:spPr/>
    </dgm:pt>
    <dgm:pt modelId="{2B626E0D-4038-4F9C-B0CF-E811F620E6A5}" type="pres">
      <dgm:prSet presAssocID="{13E6143E-3AE3-4A1E-A16D-C96A8323BDC6}" presName="hierChild4" presStyleCnt="0"/>
      <dgm:spPr/>
    </dgm:pt>
    <dgm:pt modelId="{B0188713-7CA8-4818-AB97-7C0B2D09FF2D}" type="pres">
      <dgm:prSet presAssocID="{13E6143E-3AE3-4A1E-A16D-C96A8323BDC6}" presName="hierChild5" presStyleCnt="0"/>
      <dgm:spPr/>
    </dgm:pt>
    <dgm:pt modelId="{61797818-CEEC-4010-8640-642C09CE825D}" type="pres">
      <dgm:prSet presAssocID="{EDDC8BBC-3074-4EF4-B00B-26662A4D0006}" presName="Name37" presStyleLbl="parChTrans1D4" presStyleIdx="21" presStyleCnt="23"/>
      <dgm:spPr/>
    </dgm:pt>
    <dgm:pt modelId="{6052B995-86E7-417F-98C4-842F053A3C66}" type="pres">
      <dgm:prSet presAssocID="{BEC94471-A240-436D-A246-F2E4CBD2830E}" presName="hierRoot2" presStyleCnt="0">
        <dgm:presLayoutVars>
          <dgm:hierBranch val="init"/>
        </dgm:presLayoutVars>
      </dgm:prSet>
      <dgm:spPr/>
    </dgm:pt>
    <dgm:pt modelId="{2542807D-F24E-4088-851A-73705021F92E}" type="pres">
      <dgm:prSet presAssocID="{BEC94471-A240-436D-A246-F2E4CBD2830E}" presName="rootComposite" presStyleCnt="0"/>
      <dgm:spPr/>
    </dgm:pt>
    <dgm:pt modelId="{4E3B5942-48DC-4E61-A9E8-CBF6E9B1B977}" type="pres">
      <dgm:prSet presAssocID="{BEC94471-A240-436D-A246-F2E4CBD2830E}" presName="rootText" presStyleLbl="node4" presStyleIdx="21" presStyleCnt="23">
        <dgm:presLayoutVars>
          <dgm:chPref val="3"/>
        </dgm:presLayoutVars>
      </dgm:prSet>
      <dgm:spPr/>
    </dgm:pt>
    <dgm:pt modelId="{D1C6E5F2-957F-4A86-84F2-A5705BB91D62}" type="pres">
      <dgm:prSet presAssocID="{BEC94471-A240-436D-A246-F2E4CBD2830E}" presName="rootConnector" presStyleLbl="node4" presStyleIdx="21" presStyleCnt="23"/>
      <dgm:spPr/>
    </dgm:pt>
    <dgm:pt modelId="{1986724B-73DA-4153-AF4E-21046FE12271}" type="pres">
      <dgm:prSet presAssocID="{BEC94471-A240-436D-A246-F2E4CBD2830E}" presName="hierChild4" presStyleCnt="0"/>
      <dgm:spPr/>
    </dgm:pt>
    <dgm:pt modelId="{E54F4674-BDA0-4A27-9A2F-2327E8FB5042}" type="pres">
      <dgm:prSet presAssocID="{BEC94471-A240-436D-A246-F2E4CBD2830E}" presName="hierChild5" presStyleCnt="0"/>
      <dgm:spPr/>
    </dgm:pt>
    <dgm:pt modelId="{E5E98410-234D-44E6-98BF-7874D840463A}" type="pres">
      <dgm:prSet presAssocID="{F7DB04EC-4168-4743-9845-F6C1C690AAAC}" presName="Name37" presStyleLbl="parChTrans1D4" presStyleIdx="22" presStyleCnt="23"/>
      <dgm:spPr/>
    </dgm:pt>
    <dgm:pt modelId="{72B8C88F-27F8-4D35-A29D-6A25DC1FD0BA}" type="pres">
      <dgm:prSet presAssocID="{2AB31F72-6288-44D2-8072-2F3E8CA5E8E6}" presName="hierRoot2" presStyleCnt="0">
        <dgm:presLayoutVars>
          <dgm:hierBranch val="init"/>
        </dgm:presLayoutVars>
      </dgm:prSet>
      <dgm:spPr/>
    </dgm:pt>
    <dgm:pt modelId="{0D0ACDCE-850F-479A-A565-85F4BF3BDFF9}" type="pres">
      <dgm:prSet presAssocID="{2AB31F72-6288-44D2-8072-2F3E8CA5E8E6}" presName="rootComposite" presStyleCnt="0"/>
      <dgm:spPr/>
    </dgm:pt>
    <dgm:pt modelId="{1C01B158-6877-41F6-B07E-1C9B8910083F}" type="pres">
      <dgm:prSet presAssocID="{2AB31F72-6288-44D2-8072-2F3E8CA5E8E6}" presName="rootText" presStyleLbl="node4" presStyleIdx="22" presStyleCnt="23" custLinFactNeighborY="-7280">
        <dgm:presLayoutVars>
          <dgm:chPref val="3"/>
        </dgm:presLayoutVars>
      </dgm:prSet>
      <dgm:spPr/>
    </dgm:pt>
    <dgm:pt modelId="{557C00F6-D5CE-41A2-9D30-B1571F02F3F3}" type="pres">
      <dgm:prSet presAssocID="{2AB31F72-6288-44D2-8072-2F3E8CA5E8E6}" presName="rootConnector" presStyleLbl="node4" presStyleIdx="22" presStyleCnt="23"/>
      <dgm:spPr/>
    </dgm:pt>
    <dgm:pt modelId="{4D237B38-E05F-4F82-9D23-0DC80F257684}" type="pres">
      <dgm:prSet presAssocID="{2AB31F72-6288-44D2-8072-2F3E8CA5E8E6}" presName="hierChild4" presStyleCnt="0"/>
      <dgm:spPr/>
    </dgm:pt>
    <dgm:pt modelId="{B85E4D0E-C449-443B-BDCC-FF6086E043F4}" type="pres">
      <dgm:prSet presAssocID="{2AB31F72-6288-44D2-8072-2F3E8CA5E8E6}" presName="hierChild5" presStyleCnt="0"/>
      <dgm:spPr/>
    </dgm:pt>
    <dgm:pt modelId="{CE111412-AA04-4C59-B715-95C717FC88B5}" type="pres">
      <dgm:prSet presAssocID="{BCF27CF9-0ED4-4612-94D1-DC1E000F8967}" presName="hierChild5" presStyleCnt="0"/>
      <dgm:spPr/>
    </dgm:pt>
    <dgm:pt modelId="{FBA31FB0-49C3-486D-B41C-E9FC4CF6FA16}" type="pres">
      <dgm:prSet presAssocID="{54888C6A-2E62-42EC-ABE3-0DF87A629214}" presName="hierChild5" presStyleCnt="0"/>
      <dgm:spPr/>
    </dgm:pt>
    <dgm:pt modelId="{B24C8AA9-630E-4D93-A342-36690E306F0A}" type="pres">
      <dgm:prSet presAssocID="{6E006925-3003-4720-8633-AD5D2DB96A2A}" presName="hierChild3" presStyleCnt="0"/>
      <dgm:spPr/>
    </dgm:pt>
  </dgm:ptLst>
  <dgm:cxnLst>
    <dgm:cxn modelId="{D102F400-5C07-49D2-99A7-0173640BEF17}" type="presOf" srcId="{6E006925-3003-4720-8633-AD5D2DB96A2A}" destId="{70B29599-2987-4A59-9606-E2C559936213}" srcOrd="1" destOrd="0" presId="urn:microsoft.com/office/officeart/2005/8/layout/orgChart1"/>
    <dgm:cxn modelId="{3E400701-D69B-4F30-97B0-3010DF3BEAA2}" type="presOf" srcId="{0D6DE103-5F19-4F21-AF6F-B55ED5F6FC89}" destId="{E5A21C22-57A1-4FF6-8FF7-2D27BC5935DC}" srcOrd="0" destOrd="0" presId="urn:microsoft.com/office/officeart/2005/8/layout/orgChart1"/>
    <dgm:cxn modelId="{B8CB8401-1370-4390-8E1A-414269CECE53}" srcId="{6E006925-3003-4720-8633-AD5D2DB96A2A}" destId="{E7F791D8-DB8B-4941-8E11-8F020F632050}" srcOrd="0" destOrd="0" parTransId="{85E4676F-DFDF-4B20-B1C3-60B5AF43D2D4}" sibTransId="{77A6B923-6F69-4B1D-A772-95BD5AFF3497}"/>
    <dgm:cxn modelId="{867B0204-013D-40F0-A222-D8510181F1A0}" type="presOf" srcId="{54888C6A-2E62-42EC-ABE3-0DF87A629214}" destId="{BA7F7D44-6199-4026-A414-99CBB0B6525A}" srcOrd="0" destOrd="0" presId="urn:microsoft.com/office/officeart/2005/8/layout/orgChart1"/>
    <dgm:cxn modelId="{20680C04-4078-4968-9BC8-3AAEF07E3DA6}" type="presOf" srcId="{76443041-A797-4A4D-9403-DAD82DDF176A}" destId="{DD5A3028-6030-45E1-8FF0-3EE5731A4FB0}" srcOrd="0" destOrd="0" presId="urn:microsoft.com/office/officeart/2005/8/layout/orgChart1"/>
    <dgm:cxn modelId="{4723A504-1B95-440A-9699-4EDDB7134501}" type="presOf" srcId="{4DC35318-58C7-4147-8858-E425136D1683}" destId="{02C4CFB1-59D2-4729-AA7C-CF68C37FF919}" srcOrd="1" destOrd="0" presId="urn:microsoft.com/office/officeart/2005/8/layout/orgChart1"/>
    <dgm:cxn modelId="{77A23108-BB9E-465F-AC54-D28E6CF70BB1}" type="presOf" srcId="{1CC0987F-94C0-4CA1-9C1E-E5D65D9D35F5}" destId="{1F4D08F4-B6A1-4643-8643-00E57F1133EA}" srcOrd="0" destOrd="0" presId="urn:microsoft.com/office/officeart/2005/8/layout/orgChart1"/>
    <dgm:cxn modelId="{D8B8A409-8ED0-494D-8A21-8E5A5EB17C3F}" type="presOf" srcId="{EF832AFC-3F8E-4FC2-A2C2-34B65B63776D}" destId="{1D702F36-EFBC-4D33-AFBB-22A512C7F89A}" srcOrd="0" destOrd="0" presId="urn:microsoft.com/office/officeart/2005/8/layout/orgChart1"/>
    <dgm:cxn modelId="{88C7530A-831E-4735-92C4-DCE2008C72A7}" type="presOf" srcId="{CF2BD7BF-C222-47C6-8576-73591C998929}" destId="{81EC3E32-9936-4258-BA62-6F3125D3B237}" srcOrd="0" destOrd="0" presId="urn:microsoft.com/office/officeart/2005/8/layout/orgChart1"/>
    <dgm:cxn modelId="{178B2E0B-5A3E-40FA-8EA3-3AB47B31FE59}" type="presOf" srcId="{A7195517-ECE8-4D75-B284-DD7FC3A1C483}" destId="{A588C842-F20A-4AA8-85DA-6ACC4DA2A93E}" srcOrd="0" destOrd="0" presId="urn:microsoft.com/office/officeart/2005/8/layout/orgChart1"/>
    <dgm:cxn modelId="{BF38D40B-FDAD-4FC2-94EA-46B5909F3557}" srcId="{DBDCEDFB-608B-4A42-8D1C-E32FF44E1AA3}" destId="{D3EAEA6F-8226-4F40-AAE6-0C94EE3EF556}" srcOrd="6" destOrd="0" parTransId="{CF2BD7BF-C222-47C6-8576-73591C998929}" sibTransId="{BA69229E-37FD-4EF1-9B9A-53193E80AC24}"/>
    <dgm:cxn modelId="{1E0FE50B-897B-4617-9F34-A1F27A11EEDE}" type="presOf" srcId="{1C9732A4-6FF4-40D6-8D61-7C8DB349EAC3}" destId="{626D83D9-7DC2-49A7-9CAE-3B1BAE9F1C8F}" srcOrd="1" destOrd="0" presId="urn:microsoft.com/office/officeart/2005/8/layout/orgChart1"/>
    <dgm:cxn modelId="{4039240C-F3CD-416A-9A81-4AE95393A156}" type="presOf" srcId="{4C4BD85B-0727-42BB-9783-8216A795E60F}" destId="{63D41D46-AC02-4BF1-94A7-5E086860FB7F}" srcOrd="1" destOrd="0" presId="urn:microsoft.com/office/officeart/2005/8/layout/orgChart1"/>
    <dgm:cxn modelId="{AEC86C0C-AC73-4F64-B477-EC37E0A50328}" type="presOf" srcId="{B5308BE8-90F6-43A8-855E-10D425C89E8B}" destId="{7171381D-93AB-4757-BC70-85E048680918}" srcOrd="0" destOrd="0" presId="urn:microsoft.com/office/officeart/2005/8/layout/orgChart1"/>
    <dgm:cxn modelId="{91A1D70E-D22F-4DB9-84A9-B2B82CBAE4EC}" type="presOf" srcId="{761A1E22-8C8A-4152-B1C8-4F9F35F000B9}" destId="{17B00065-1171-40DE-9B0F-689010D7168B}" srcOrd="1" destOrd="0" presId="urn:microsoft.com/office/officeart/2005/8/layout/orgChart1"/>
    <dgm:cxn modelId="{C26A1C10-6734-4D51-8250-95D2086E8F98}" srcId="{BCF27CF9-0ED4-4612-94D1-DC1E000F8967}" destId="{5EEA353E-AFC6-4F20-8D77-AD8593576011}" srcOrd="1" destOrd="0" parTransId="{0A82C860-67E9-4924-9DCF-FC0CBD8C5010}" sibTransId="{76204006-F138-4849-BD32-33E51A67180B}"/>
    <dgm:cxn modelId="{49FFBF10-9672-4D4C-AA0A-5B9608531312}" type="presOf" srcId="{82AAA354-A7CE-4AB1-99AB-2B651718BBA4}" destId="{715A2952-F3DA-4A02-ACE8-7C57C9B40431}" srcOrd="1" destOrd="0" presId="urn:microsoft.com/office/officeart/2005/8/layout/orgChart1"/>
    <dgm:cxn modelId="{44C9C710-4015-4401-A37B-EA3DCDFEDCEF}" srcId="{DBDCEDFB-608B-4A42-8D1C-E32FF44E1AA3}" destId="{D0BD1B9D-6FCD-4A08-9C31-03A5F2B41B4F}" srcOrd="5" destOrd="0" parTransId="{3420DA78-1189-4823-8264-4E3D7CD5A180}" sibTransId="{DF32E5FC-3ECD-4002-82D6-521EBF941CB5}"/>
    <dgm:cxn modelId="{C1408012-C21A-4D4F-993D-9BC46D1F7099}" srcId="{BCF27CF9-0ED4-4612-94D1-DC1E000F8967}" destId="{BEC94471-A240-436D-A246-F2E4CBD2830E}" srcOrd="3" destOrd="0" parTransId="{EDDC8BBC-3074-4EF4-B00B-26662A4D0006}" sibTransId="{D1AF9D87-F41C-4F02-8D79-59C384796391}"/>
    <dgm:cxn modelId="{88F20913-BA73-4BDC-9AEE-DE0C52FDF407}" type="presOf" srcId="{5EEA353E-AFC6-4F20-8D77-AD8593576011}" destId="{02FD715C-0AB6-451C-8869-4951DD781340}" srcOrd="1" destOrd="0" presId="urn:microsoft.com/office/officeart/2005/8/layout/orgChart1"/>
    <dgm:cxn modelId="{07159314-9144-4431-9E33-A21DF5B72FBC}" type="presOf" srcId="{CEFE54B5-1BF0-40D8-A238-41A7896496D8}" destId="{D8C76C5F-CACD-4BE9-9210-01DA99ABE337}" srcOrd="1" destOrd="0" presId="urn:microsoft.com/office/officeart/2005/8/layout/orgChart1"/>
    <dgm:cxn modelId="{7A971C15-6FE6-41A8-A631-AA0E1B33EF81}" type="presOf" srcId="{3A71DE44-A883-452F-BD5C-5C1232AFF38F}" destId="{CB2A7D91-AEA7-4DBA-86ED-7C04CF0853E4}" srcOrd="0" destOrd="0" presId="urn:microsoft.com/office/officeart/2005/8/layout/orgChart1"/>
    <dgm:cxn modelId="{65095D15-F987-42B3-BF7B-414C4FC6AA25}" type="presOf" srcId="{25EF0883-7505-481B-9361-6A17544145A1}" destId="{FB709349-E6D3-41D4-81B7-0F67304A6EFE}" srcOrd="0" destOrd="0" presId="urn:microsoft.com/office/officeart/2005/8/layout/orgChart1"/>
    <dgm:cxn modelId="{7BF3DF18-FC3C-40E0-A903-DCD57160970C}" type="presOf" srcId="{54888C6A-2E62-42EC-ABE3-0DF87A629214}" destId="{CAD708EC-D241-4DCA-A9E7-102D8408B684}" srcOrd="1" destOrd="0" presId="urn:microsoft.com/office/officeart/2005/8/layout/orgChart1"/>
    <dgm:cxn modelId="{F691FC18-55B6-4D81-B314-B9843F2332AC}" type="presOf" srcId="{8987B43F-EE7D-4124-AB48-46F3316BE98E}" destId="{5F27B44E-4915-466B-B832-3FF70F523FEB}" srcOrd="0" destOrd="0" presId="urn:microsoft.com/office/officeart/2005/8/layout/orgChart1"/>
    <dgm:cxn modelId="{4721671F-F283-420E-8C71-B94BF4EB2B9A}" type="presOf" srcId="{97751B3B-AFD0-4B86-8DBD-7987C92C6E32}" destId="{90ACCBF6-8CCD-45FE-A2D6-178440392A5C}" srcOrd="0" destOrd="0" presId="urn:microsoft.com/office/officeart/2005/8/layout/orgChart1"/>
    <dgm:cxn modelId="{25E72224-7A7F-496E-966B-6F89D4727201}" srcId="{DBDCEDFB-608B-4A42-8D1C-E32FF44E1AA3}" destId="{4C4BD85B-0727-42BB-9783-8216A795E60F}" srcOrd="2" destOrd="0" parTransId="{0C92A346-77A6-40EF-901B-1E483C88E84C}" sibTransId="{7A8C9B87-E18B-4B4C-B0D5-A7ED305525E9}"/>
    <dgm:cxn modelId="{6860BA25-5B35-4289-B2AC-B5C0F60572B3}" type="presOf" srcId="{EDDC8BBC-3074-4EF4-B00B-26662A4D0006}" destId="{61797818-CEEC-4010-8640-642C09CE825D}" srcOrd="0" destOrd="0" presId="urn:microsoft.com/office/officeart/2005/8/layout/orgChart1"/>
    <dgm:cxn modelId="{369D3228-3AE0-42E4-975B-0C47F1114A6A}" type="presOf" srcId="{D3EAEA6F-8226-4F40-AAE6-0C94EE3EF556}" destId="{7D9A8CB1-0CBA-42F7-9C9F-8DF225EEF363}" srcOrd="1" destOrd="0" presId="urn:microsoft.com/office/officeart/2005/8/layout/orgChart1"/>
    <dgm:cxn modelId="{75D5892A-E222-476D-8D46-2C4CF0219EEB}" type="presOf" srcId="{D1805DA1-904F-4B00-AF8A-FF206D51C6A2}" destId="{281EE699-AAC5-4334-987D-753B1F4AC9A0}" srcOrd="0" destOrd="0" presId="urn:microsoft.com/office/officeart/2005/8/layout/orgChart1"/>
    <dgm:cxn modelId="{85E42A2D-45E0-49E2-8024-33B70696E1FB}" type="presOf" srcId="{6FDAC7CE-C7EF-40C3-B712-A3202A457CEF}" destId="{C79CBE1C-5BCD-423C-9518-DB48B8FD8151}" srcOrd="0" destOrd="0" presId="urn:microsoft.com/office/officeart/2005/8/layout/orgChart1"/>
    <dgm:cxn modelId="{80971F33-21FE-47E4-8B0B-0ED61EDDC5C9}" type="presOf" srcId="{C8DBDEE6-FC39-4EAC-9FE5-3F58BA91234D}" destId="{8EEA6470-AFE7-4291-ACFD-8B7320266F1F}" srcOrd="0" destOrd="0" presId="urn:microsoft.com/office/officeart/2005/8/layout/orgChart1"/>
    <dgm:cxn modelId="{85785D34-96B6-49EB-A02A-03A7549DE20D}" type="presOf" srcId="{D96AFAE7-FE68-40D8-82B7-449AF30CCC2B}" destId="{F6798CCF-28BC-4A27-B715-F4CC0F797FAF}" srcOrd="0" destOrd="0" presId="urn:microsoft.com/office/officeart/2005/8/layout/orgChart1"/>
    <dgm:cxn modelId="{AE072935-D989-4E7E-BC4D-67F517C95884}" type="presOf" srcId="{F39F50FA-EEE3-4D7A-8C4B-320B85211430}" destId="{07F66D99-B4F5-48C7-93B8-AB3D74072266}" srcOrd="0" destOrd="0" presId="urn:microsoft.com/office/officeart/2005/8/layout/orgChart1"/>
    <dgm:cxn modelId="{1634FB35-7EB5-4591-9CF8-35A81F2A8765}" type="presOf" srcId="{FC5B815B-FF58-4D5A-AAF8-9B53BC2C56D1}" destId="{9DFDC392-D7E9-4EFA-91C1-637CE0F3CB14}" srcOrd="0" destOrd="0" presId="urn:microsoft.com/office/officeart/2005/8/layout/orgChart1"/>
    <dgm:cxn modelId="{0E35EA39-64A1-481C-8266-77352164A024}" type="presOf" srcId="{BEC94471-A240-436D-A246-F2E4CBD2830E}" destId="{D1C6E5F2-957F-4A86-84F2-A5705BB91D62}" srcOrd="1" destOrd="0" presId="urn:microsoft.com/office/officeart/2005/8/layout/orgChart1"/>
    <dgm:cxn modelId="{1B28343B-6327-4A9C-ACBE-A4686A6D687B}" type="presOf" srcId="{97751B3B-AFD0-4B86-8DBD-7987C92C6E32}" destId="{0F1C5F80-8969-4F48-BD14-9FA94170E033}" srcOrd="1" destOrd="0" presId="urn:microsoft.com/office/officeart/2005/8/layout/orgChart1"/>
    <dgm:cxn modelId="{6049EC3D-22D3-42A6-8A7C-26B65A5E1778}" type="presOf" srcId="{A49BBB18-A6FD-44E5-A65B-0C9981C38114}" destId="{E63178FE-4D58-419B-A8C9-74DAD9516F21}" srcOrd="1" destOrd="0" presId="urn:microsoft.com/office/officeart/2005/8/layout/orgChart1"/>
    <dgm:cxn modelId="{3418DD3E-B1DA-4620-9B93-0F51508C8D6C}" srcId="{DBDCEDFB-608B-4A42-8D1C-E32FF44E1AA3}" destId="{76443041-A797-4A4D-9403-DAD82DDF176A}" srcOrd="0" destOrd="0" parTransId="{3079458F-EC6F-4B3A-8344-DD5C1AE44210}" sibTransId="{5A4B5119-3C84-4689-8A5D-E05EB25F38A3}"/>
    <dgm:cxn modelId="{5C3F533F-AE2E-4C19-9188-BCD2C979A497}" type="presOf" srcId="{C8DBDEE6-FC39-4EAC-9FE5-3F58BA91234D}" destId="{EC5FC57E-FFD1-4726-A3E4-2553AA7909D3}" srcOrd="1" destOrd="0" presId="urn:microsoft.com/office/officeart/2005/8/layout/orgChart1"/>
    <dgm:cxn modelId="{0B106C5F-42EB-4300-BDCD-60CD52F08392}" srcId="{DBDCEDFB-608B-4A42-8D1C-E32FF44E1AA3}" destId="{A49BBB18-A6FD-44E5-A65B-0C9981C38114}" srcOrd="4" destOrd="0" parTransId="{D96AFAE7-FE68-40D8-82B7-449AF30CCC2B}" sibTransId="{39E41F36-A5A1-4ABB-83DA-B42122E3B882}"/>
    <dgm:cxn modelId="{27E81D43-78C7-4433-B28B-706D89C87A33}" type="presOf" srcId="{DBDCEDFB-608B-4A42-8D1C-E32FF44E1AA3}" destId="{3D20D6D5-CB2A-4FD8-8A02-4CBAE6D30986}" srcOrd="0" destOrd="0" presId="urn:microsoft.com/office/officeart/2005/8/layout/orgChart1"/>
    <dgm:cxn modelId="{17583163-F156-47C6-A8F1-CAAAA1AA6E6A}" type="presOf" srcId="{A49BBB18-A6FD-44E5-A65B-0C9981C38114}" destId="{EA703891-59A3-4402-9351-61C8ECB0EE88}" srcOrd="0" destOrd="0" presId="urn:microsoft.com/office/officeart/2005/8/layout/orgChart1"/>
    <dgm:cxn modelId="{A24A8365-26AC-41C4-9BB2-F5625FFC5938}" type="presOf" srcId="{1FB87FED-6972-430F-AC0C-71746CE494E0}" destId="{26B8BE0C-B6B2-41D8-9DFA-F1DA7BCA117F}" srcOrd="0" destOrd="0" presId="urn:microsoft.com/office/officeart/2005/8/layout/orgChart1"/>
    <dgm:cxn modelId="{89F75166-146B-48EB-BD44-F51022126578}" type="presOf" srcId="{8C988897-87B7-4517-9047-DFA7A88C38ED}" destId="{57776C70-4867-4A75-BB91-ECE4EAD53C8E}" srcOrd="0" destOrd="0" presId="urn:microsoft.com/office/officeart/2005/8/layout/orgChart1"/>
    <dgm:cxn modelId="{985C9567-324B-4C39-8B58-D277727FEAC9}" type="presOf" srcId="{F7DB04EC-4168-4743-9845-F6C1C690AAAC}" destId="{E5E98410-234D-44E6-98BF-7874D840463A}" srcOrd="0" destOrd="0" presId="urn:microsoft.com/office/officeart/2005/8/layout/orgChart1"/>
    <dgm:cxn modelId="{5F4F5848-CA66-4198-BFB3-A18515633384}" srcId="{E7F791D8-DB8B-4941-8E11-8F020F632050}" destId="{8C988897-87B7-4517-9047-DFA7A88C38ED}" srcOrd="1" destOrd="0" parTransId="{03D29BEB-8C5A-4A99-8BC3-76E4815FCD31}" sibTransId="{2436EC5A-ABCA-41EE-BECC-8BBE18E8256E}"/>
    <dgm:cxn modelId="{BBA31969-0DB4-4663-8F52-CB073C653E57}" srcId="{DBDCEDFB-608B-4A42-8D1C-E32FF44E1AA3}" destId="{36D2158B-93CC-43DE-AB88-9EFEF1C7063B}" srcOrd="3" destOrd="0" parTransId="{EE3A1FAB-7C4B-4877-92C0-F65374159DFF}" sibTransId="{463DF148-6072-4495-8955-D65D1677D418}"/>
    <dgm:cxn modelId="{B57BD74A-02F0-4A04-A82C-9362160B2175}" type="presOf" srcId="{13E6143E-3AE3-4A1E-A16D-C96A8323BDC6}" destId="{9922B4C0-BC02-4390-A8A7-3FC24BEE6EB1}" srcOrd="1" destOrd="0" presId="urn:microsoft.com/office/officeart/2005/8/layout/orgChart1"/>
    <dgm:cxn modelId="{BE1B924B-0C7F-4620-8B51-F57172EA1806}" srcId="{8C988897-87B7-4517-9047-DFA7A88C38ED}" destId="{6FDAC7CE-C7EF-40C3-B712-A3202A457CEF}" srcOrd="1" destOrd="0" parTransId="{8987B43F-EE7D-4124-AB48-46F3316BE98E}" sibTransId="{645F58BC-DE26-4E21-BAF6-DA0D82F55B8A}"/>
    <dgm:cxn modelId="{44DAE46B-09D4-477B-AC1E-6A5CEF2077C5}" type="presOf" srcId="{E7F791D8-DB8B-4941-8E11-8F020F632050}" destId="{0493376E-91BF-4B13-8A9A-8F5A5A027EBD}" srcOrd="1" destOrd="0" presId="urn:microsoft.com/office/officeart/2005/8/layout/orgChart1"/>
    <dgm:cxn modelId="{94962C4C-48C2-42CA-AF8F-54E469F03C2C}" type="presOf" srcId="{1C9732A4-6FF4-40D6-8D61-7C8DB349EAC3}" destId="{DD866608-B532-4C1E-9B13-FA9B1BC79E0F}" srcOrd="0" destOrd="0" presId="urn:microsoft.com/office/officeart/2005/8/layout/orgChart1"/>
    <dgm:cxn modelId="{1ED1354C-78F5-45AC-B8D2-7DCB36F1CB7A}" type="presOf" srcId="{82AAA354-A7CE-4AB1-99AB-2B651718BBA4}" destId="{72BE5304-752C-4167-B03F-5A6E23A69990}" srcOrd="0" destOrd="0" presId="urn:microsoft.com/office/officeart/2005/8/layout/orgChart1"/>
    <dgm:cxn modelId="{7DC75F6D-295A-4097-A1C6-5B8832D8EAFD}" srcId="{54888C6A-2E62-42EC-ABE3-0DF87A629214}" destId="{0D6DE103-5F19-4F21-AF6F-B55ED5F6FC89}" srcOrd="0" destOrd="0" parTransId="{7C6CCB63-A967-4C87-94BE-1382925217CD}" sibTransId="{A3F2E28C-9962-4381-A7F3-AAA92F5EECE9}"/>
    <dgm:cxn modelId="{9879776D-CF6C-45AE-8596-A5E396C0DFDD}" type="presOf" srcId="{03D29BEB-8C5A-4A99-8BC3-76E4815FCD31}" destId="{4617481A-8433-4D8A-9D92-8280515D5E7A}" srcOrd="0" destOrd="0" presId="urn:microsoft.com/office/officeart/2005/8/layout/orgChart1"/>
    <dgm:cxn modelId="{CEFFBF50-3322-4AB4-A579-8B6C9E15D5F0}" srcId="{6E006925-3003-4720-8633-AD5D2DB96A2A}" destId="{54888C6A-2E62-42EC-ABE3-0DF87A629214}" srcOrd="1" destOrd="0" parTransId="{50F89145-1688-493A-881E-D47538A1E55B}" sibTransId="{DF79CE5F-32B9-472B-A50D-90CB7FC56198}"/>
    <dgm:cxn modelId="{154E4752-8199-43FC-9B40-84BF386780B4}" type="presOf" srcId="{BCF27CF9-0ED4-4612-94D1-DC1E000F8967}" destId="{752354B9-535E-4F50-8E38-3DC6C7A96331}" srcOrd="1" destOrd="0" presId="urn:microsoft.com/office/officeart/2005/8/layout/orgChart1"/>
    <dgm:cxn modelId="{CC99BC72-6785-4C86-95FD-29DF5063F994}" srcId="{8C988897-87B7-4517-9047-DFA7A88C38ED}" destId="{E557E23E-C3E6-42E2-868F-877B1D8E73CB}" srcOrd="4" destOrd="0" parTransId="{FAF273E8-FB9C-4474-92C9-A0CDE5FEDDC1}" sibTransId="{91839324-1A32-42DB-82F4-5BC2D4910982}"/>
    <dgm:cxn modelId="{CFA8C452-C9BB-41CF-B1BD-1079FF20F8A0}" type="presOf" srcId="{25EF0883-7505-481B-9361-6A17544145A1}" destId="{790C1FBB-4319-4B98-A874-713788B861D2}" srcOrd="1" destOrd="0" presId="urn:microsoft.com/office/officeart/2005/8/layout/orgChart1"/>
    <dgm:cxn modelId="{E7F5DA53-3710-47D8-BCB9-3D49F1995D20}" type="presOf" srcId="{50F89145-1688-493A-881E-D47538A1E55B}" destId="{6E82193E-6543-4E49-84CB-9B5D897936A4}" srcOrd="0" destOrd="0" presId="urn:microsoft.com/office/officeart/2005/8/layout/orgChart1"/>
    <dgm:cxn modelId="{65AB1174-3962-4FF8-8723-2AE8B3B817B7}" srcId="{E7F791D8-DB8B-4941-8E11-8F020F632050}" destId="{1C9732A4-6FF4-40D6-8D61-7C8DB349EAC3}" srcOrd="0" destOrd="0" parTransId="{B5308BE8-90F6-43A8-855E-10D425C89E8B}" sibTransId="{F05417B5-AA2B-4AAA-8E75-A2CDD48B10F8}"/>
    <dgm:cxn modelId="{0441F475-15D7-48A9-8F50-227B93309655}" srcId="{54888C6A-2E62-42EC-ABE3-0DF87A629214}" destId="{BCF27CF9-0ED4-4612-94D1-DC1E000F8967}" srcOrd="2" destOrd="0" parTransId="{07113328-4499-450A-BD57-0C9620EB93F0}" sibTransId="{92E0E80D-3C40-4A36-B209-168F406C7343}"/>
    <dgm:cxn modelId="{D60A7457-01B0-4ED0-B8A2-29B528889949}" type="presOf" srcId="{CEFE54B5-1BF0-40D8-A238-41A7896496D8}" destId="{E180F611-3F02-473E-B8B3-2F7FCC74AF64}" srcOrd="0" destOrd="0" presId="urn:microsoft.com/office/officeart/2005/8/layout/orgChart1"/>
    <dgm:cxn modelId="{D2F0AC85-7E56-4631-9217-DA9857EA4274}" type="presOf" srcId="{3420DA78-1189-4823-8264-4E3D7CD5A180}" destId="{1A834F76-1D49-4F9C-9A9B-722FDD68DB58}" srcOrd="0" destOrd="0" presId="urn:microsoft.com/office/officeart/2005/8/layout/orgChart1"/>
    <dgm:cxn modelId="{ABB95C86-D7B6-4B2B-9CF6-BEF262CA1C8D}" type="presOf" srcId="{FDD59A98-5413-4434-8DC1-7DF4B1D9C928}" destId="{4B911C8F-417C-49C0-AAE0-9CE821F23A53}" srcOrd="0" destOrd="0" presId="urn:microsoft.com/office/officeart/2005/8/layout/orgChart1"/>
    <dgm:cxn modelId="{93287186-847A-4C4C-B33E-0E5A7121DC5E}" srcId="{DBDCEDFB-608B-4A42-8D1C-E32FF44E1AA3}" destId="{4DC35318-58C7-4147-8858-E425136D1683}" srcOrd="1" destOrd="0" parTransId="{DF6A2EB0-C2F6-4627-BDB3-F3F1C0532CDD}" sibTransId="{1F629A39-7A34-414A-8E5C-F51172420AC2}"/>
    <dgm:cxn modelId="{5B28BB86-575C-4E0A-9C63-CB4BC058B28A}" type="presOf" srcId="{3079458F-EC6F-4B3A-8344-DD5C1AE44210}" destId="{2F800CCF-7503-4A00-A283-240AB8218231}" srcOrd="0" destOrd="0" presId="urn:microsoft.com/office/officeart/2005/8/layout/orgChart1"/>
    <dgm:cxn modelId="{BFAA0389-B283-47C5-8FE7-4DE064545B1E}" type="presOf" srcId="{E557E23E-C3E6-42E2-868F-877B1D8E73CB}" destId="{D0C06A9D-9519-414B-BFF8-974E13F78F47}" srcOrd="0" destOrd="0" presId="urn:microsoft.com/office/officeart/2005/8/layout/orgChart1"/>
    <dgm:cxn modelId="{9396EE8A-D13F-465A-BA16-CE2A370F9C5D}" type="presOf" srcId="{0C92A346-77A6-40EF-901B-1E483C88E84C}" destId="{4FB7D99D-33FC-40B1-B378-A6CD35922869}" srcOrd="0" destOrd="0" presId="urn:microsoft.com/office/officeart/2005/8/layout/orgChart1"/>
    <dgm:cxn modelId="{BA4CEE8B-271F-4FAC-91B6-58EC1D2BDA73}" type="presOf" srcId="{4C4BD85B-0727-42BB-9783-8216A795E60F}" destId="{85ABCF13-624C-447D-8FF5-0CE2E7720E42}" srcOrd="0" destOrd="0" presId="urn:microsoft.com/office/officeart/2005/8/layout/orgChart1"/>
    <dgm:cxn modelId="{7094F88F-CA71-4B2A-A4D7-87CC5651C8CC}" type="presOf" srcId="{3D973D13-7791-456C-B9BE-CDB53C40AD0D}" destId="{5334F2DE-F338-4A4E-8CF6-77E2FD3A717B}" srcOrd="0" destOrd="0" presId="urn:microsoft.com/office/officeart/2005/8/layout/orgChart1"/>
    <dgm:cxn modelId="{6F42F690-42D7-4A3B-B4B6-F7C15BE6A864}" type="presOf" srcId="{039FA459-9C06-468E-B1F7-E5A82D5411B4}" destId="{BDED5FC7-7ECA-4F93-98CF-FB3DDFEDBC40}" srcOrd="0" destOrd="0" presId="urn:microsoft.com/office/officeart/2005/8/layout/orgChart1"/>
    <dgm:cxn modelId="{3C986995-76F4-4DB1-B6C5-DF1068BA7E44}" srcId="{8C988897-87B7-4517-9047-DFA7A88C38ED}" destId="{C8DBDEE6-FC39-4EAC-9FE5-3F58BA91234D}" srcOrd="2" destOrd="0" parTransId="{F39F50FA-EEE3-4D7A-8C4B-320B85211430}" sibTransId="{11858CF6-7F77-48B3-AFAA-6DF7453AF8F1}"/>
    <dgm:cxn modelId="{6E4C3C9B-13CB-4D1E-91E9-A66904E6DEB5}" srcId="{CEFE54B5-1BF0-40D8-A238-41A7896496D8}" destId="{761A1E22-8C8A-4152-B1C8-4F9F35F000B9}" srcOrd="2" destOrd="0" parTransId="{D1805DA1-904F-4B00-AF8A-FF206D51C6A2}" sibTransId="{E093EFA0-7F0F-40F5-A5A5-B7265D03F82F}"/>
    <dgm:cxn modelId="{F86A109E-AEF5-4136-9C61-C4A084CD4AD4}" type="presOf" srcId="{E557E23E-C3E6-42E2-868F-877B1D8E73CB}" destId="{A88EF65C-30E4-4BAB-91D7-5FCA3657199C}" srcOrd="1" destOrd="0" presId="urn:microsoft.com/office/officeart/2005/8/layout/orgChart1"/>
    <dgm:cxn modelId="{B7263AA0-86A3-4545-8C01-3C88E92B098D}" type="presOf" srcId="{761A1E22-8C8A-4152-B1C8-4F9F35F000B9}" destId="{71B521A9-878F-41A1-8364-290A0A9B4615}" srcOrd="0" destOrd="0" presId="urn:microsoft.com/office/officeart/2005/8/layout/orgChart1"/>
    <dgm:cxn modelId="{AA36EFA2-AE88-4849-9D8C-BC6B30B2C1AD}" type="presOf" srcId="{76443041-A797-4A4D-9403-DAD82DDF176A}" destId="{063F868D-2DDA-456A-9D63-024C5531A8F0}" srcOrd="1" destOrd="0" presId="urn:microsoft.com/office/officeart/2005/8/layout/orgChart1"/>
    <dgm:cxn modelId="{A56AB2A4-A34F-459D-8AAF-4D4FDB0066F5}" type="presOf" srcId="{30F82C44-F97D-491F-8381-068EEDDCD21B}" destId="{6C59BE90-8A13-4704-9367-E91AC7A75F0B}" srcOrd="0" destOrd="0" presId="urn:microsoft.com/office/officeart/2005/8/layout/orgChart1"/>
    <dgm:cxn modelId="{5D042CA5-E851-49B5-B383-CD81AC9F58ED}" type="presOf" srcId="{36D2158B-93CC-43DE-AB88-9EFEF1C7063B}" destId="{9FFF4862-2D69-492C-8F56-F0C1D1708546}" srcOrd="0" destOrd="0" presId="urn:microsoft.com/office/officeart/2005/8/layout/orgChart1"/>
    <dgm:cxn modelId="{1D9C0DA6-A66C-4896-BD02-0B3148810FCA}" srcId="{CEFE54B5-1BF0-40D8-A238-41A7896496D8}" destId="{25EF0883-7505-481B-9361-6A17544145A1}" srcOrd="3" destOrd="0" parTransId="{0CF47565-496B-452B-A332-F8123452058B}" sibTransId="{4C8A066E-D124-4071-B943-8BCE9C106578}"/>
    <dgm:cxn modelId="{7CD83EA8-ACE2-4B27-BBAE-B7A0D88EC1D3}" type="presOf" srcId="{FAF273E8-FB9C-4474-92C9-A0CDE5FEDDC1}" destId="{5AC7132E-9C97-4821-9AB9-A1B5D43163E9}" srcOrd="0" destOrd="0" presId="urn:microsoft.com/office/officeart/2005/8/layout/orgChart1"/>
    <dgm:cxn modelId="{A45D0BAB-A876-4BB9-BE90-21A1A59DE2A9}" type="presOf" srcId="{1CC0987F-94C0-4CA1-9C1E-E5D65D9D35F5}" destId="{E2E37F56-BA03-4D12-AA70-FEF5EDBA69E0}" srcOrd="1" destOrd="0" presId="urn:microsoft.com/office/officeart/2005/8/layout/orgChart1"/>
    <dgm:cxn modelId="{F11CD2AB-B04E-4391-87C0-103184C9B4A5}" type="presOf" srcId="{BCF27CF9-0ED4-4612-94D1-DC1E000F8967}" destId="{E46FED4D-3C12-4A9A-8E18-C8A5D62B5747}" srcOrd="0" destOrd="0" presId="urn:microsoft.com/office/officeart/2005/8/layout/orgChart1"/>
    <dgm:cxn modelId="{673F30AD-57A9-4F8A-8FC5-C1CECBD499F9}" type="presOf" srcId="{DBDCEDFB-608B-4A42-8D1C-E32FF44E1AA3}" destId="{8B94B0B0-A045-4682-A903-89880EC43062}" srcOrd="1" destOrd="0" presId="urn:microsoft.com/office/officeart/2005/8/layout/orgChart1"/>
    <dgm:cxn modelId="{C6C7A5B0-F44B-41BD-9D5D-F2F76FD1E08D}" srcId="{8C988897-87B7-4517-9047-DFA7A88C38ED}" destId="{039FA459-9C06-468E-B1F7-E5A82D5411B4}" srcOrd="3" destOrd="0" parTransId="{62D16580-86F9-40F0-867C-B38652B85398}" sibTransId="{F54622C5-0363-4600-8D38-21A33EE77957}"/>
    <dgm:cxn modelId="{9CB6FFB1-C395-4151-A73D-7442A309F331}" type="presOf" srcId="{83BD93D6-7A0E-4A44-AB13-3EF7F617E4A6}" destId="{0CBDE9EB-5821-4336-A084-BD7690A27F60}" srcOrd="0" destOrd="0" presId="urn:microsoft.com/office/officeart/2005/8/layout/orgChart1"/>
    <dgm:cxn modelId="{26B60FB2-003E-4065-BD39-D5A089EA6335}" type="presOf" srcId="{EE3A1FAB-7C4B-4877-92C0-F65374159DFF}" destId="{B08448DC-351C-4B03-9C3B-2CBC8AADAC90}" srcOrd="0" destOrd="0" presId="urn:microsoft.com/office/officeart/2005/8/layout/orgChart1"/>
    <dgm:cxn modelId="{58878AB3-C2A3-4560-B189-D71EC43AC1B0}" type="presOf" srcId="{4DC35318-58C7-4147-8858-E425136D1683}" destId="{15AF2AF8-D5F0-498F-90EB-7B4704CB01AF}" srcOrd="0" destOrd="0" presId="urn:microsoft.com/office/officeart/2005/8/layout/orgChart1"/>
    <dgm:cxn modelId="{D014F4B4-F0DA-4430-92B5-F96FF926D4AD}" type="presOf" srcId="{2AB31F72-6288-44D2-8072-2F3E8CA5E8E6}" destId="{557C00F6-D5CE-41A2-9D30-B1571F02F3F3}" srcOrd="1" destOrd="0" presId="urn:microsoft.com/office/officeart/2005/8/layout/orgChart1"/>
    <dgm:cxn modelId="{B762EDB5-740B-46F5-85E1-28D8205D5E8E}" type="presOf" srcId="{6E006925-3003-4720-8633-AD5D2DB96A2A}" destId="{B748CB5D-1BF0-40F4-B0E2-608095375244}" srcOrd="0" destOrd="0" presId="urn:microsoft.com/office/officeart/2005/8/layout/orgChart1"/>
    <dgm:cxn modelId="{2B77F4B8-38C1-496B-9022-57F870ED9AB2}" type="presOf" srcId="{85E4676F-DFDF-4B20-B1C3-60B5AF43D2D4}" destId="{2551C1A7-DE50-4108-9266-6F69CB481F73}" srcOrd="0" destOrd="0" presId="urn:microsoft.com/office/officeart/2005/8/layout/orgChart1"/>
    <dgm:cxn modelId="{FC8C7DBA-41E4-468A-A79F-12AF63A32C8E}" srcId="{E7F791D8-DB8B-4941-8E11-8F020F632050}" destId="{DBDCEDFB-608B-4A42-8D1C-E32FF44E1AA3}" srcOrd="2" destOrd="0" parTransId="{FC5B815B-FF58-4D5A-AAF8-9B53BC2C56D1}" sibTransId="{799995E3-253C-4662-A9BD-72528A34F37D}"/>
    <dgm:cxn modelId="{74D8D4BD-F6B0-45DD-A7C3-6746D4D85B98}" type="presOf" srcId="{62D16580-86F9-40F0-867C-B38652B85398}" destId="{983796B0-4E24-4037-A756-23DAC096EEDD}" srcOrd="0" destOrd="0" presId="urn:microsoft.com/office/officeart/2005/8/layout/orgChart1"/>
    <dgm:cxn modelId="{7E869DC0-BD87-421F-B901-40F772CDBBA3}" type="presOf" srcId="{CDC32E48-8470-4047-9C56-5574FF1AE61B}" destId="{88564183-0CC7-4C92-BE75-FB1FDE2DB88B}" srcOrd="0" destOrd="0" presId="urn:microsoft.com/office/officeart/2005/8/layout/orgChart1"/>
    <dgm:cxn modelId="{B70FB2C3-AB02-448B-941A-256E93AC205C}" type="presOf" srcId="{BEC94471-A240-436D-A246-F2E4CBD2830E}" destId="{4E3B5942-48DC-4E61-A9E8-CBF6E9B1B977}" srcOrd="0" destOrd="0" presId="urn:microsoft.com/office/officeart/2005/8/layout/orgChart1"/>
    <dgm:cxn modelId="{60D7E1C9-9A1C-4E9E-A0EC-1877AC14C0FE}" type="presOf" srcId="{D3EAEA6F-8226-4F40-AAE6-0C94EE3EF556}" destId="{5198AF0E-3D25-4505-8815-4D02133E968A}" srcOrd="0" destOrd="0" presId="urn:microsoft.com/office/officeart/2005/8/layout/orgChart1"/>
    <dgm:cxn modelId="{FF3952CC-7EAD-4E12-89D0-05E40591053E}" type="presOf" srcId="{6FDAC7CE-C7EF-40C3-B712-A3202A457CEF}" destId="{9438E796-ECFF-45AF-BDAD-F51F38B80D1A}" srcOrd="1" destOrd="0" presId="urn:microsoft.com/office/officeart/2005/8/layout/orgChart1"/>
    <dgm:cxn modelId="{40B712CD-1791-454D-9EC1-E2BCAD0C8F5D}" type="presOf" srcId="{2AB31F72-6288-44D2-8072-2F3E8CA5E8E6}" destId="{1C01B158-6877-41F6-B07E-1C9B8910083F}" srcOrd="0" destOrd="0" presId="urn:microsoft.com/office/officeart/2005/8/layout/orgChart1"/>
    <dgm:cxn modelId="{C1FB86D0-3301-414C-8D9D-1DB236A0CA01}" srcId="{CEFE54B5-1BF0-40D8-A238-41A7896496D8}" destId="{A7195517-ECE8-4D75-B284-DD7FC3A1C483}" srcOrd="4" destOrd="0" parTransId="{3A71DE44-A883-452F-BD5C-5C1232AFF38F}" sibTransId="{B03912AA-9EC5-4CF4-8842-A978F5471BA2}"/>
    <dgm:cxn modelId="{94A89AD0-27B7-4E67-94F4-2451A2952FE0}" type="presOf" srcId="{A3FC52F2-F011-4737-8EB4-60558773279B}" destId="{35C3C7FB-1F8E-481E-829E-CA0E11A2D271}" srcOrd="1" destOrd="0" presId="urn:microsoft.com/office/officeart/2005/8/layout/orgChart1"/>
    <dgm:cxn modelId="{C26416D1-95F1-4FFE-B22E-8AF91D55C3B5}" type="presOf" srcId="{5EEA353E-AFC6-4F20-8D77-AD8593576011}" destId="{10893535-E133-4731-B500-FBF09351815B}" srcOrd="0" destOrd="0" presId="urn:microsoft.com/office/officeart/2005/8/layout/orgChart1"/>
    <dgm:cxn modelId="{CE4E22D1-3EE0-4F09-82A0-0CD5785AECDF}" srcId="{8C988897-87B7-4517-9047-DFA7A88C38ED}" destId="{97751B3B-AFD0-4B86-8DBD-7987C92C6E32}" srcOrd="5" destOrd="0" parTransId="{83BD93D6-7A0E-4A44-AB13-3EF7F617E4A6}" sibTransId="{CCD94597-4420-41FE-95DA-62E7EBB26D85}"/>
    <dgm:cxn modelId="{8D152BD1-C15E-4D92-A975-73CBD6E4487F}" srcId="{CEFE54B5-1BF0-40D8-A238-41A7896496D8}" destId="{4D793E25-9924-492C-B00A-32F155E6050A}" srcOrd="1" destOrd="0" parTransId="{30F82C44-F97D-491F-8381-068EEDDCD21B}" sibTransId="{FF3265DF-C755-46E3-B9BC-B845D9BAEC0A}"/>
    <dgm:cxn modelId="{C527CBD1-8122-4A6B-A5A5-5CA46E020A6C}" srcId="{8C988897-87B7-4517-9047-DFA7A88C38ED}" destId="{1CC0987F-94C0-4CA1-9C1E-E5D65D9D35F5}" srcOrd="0" destOrd="0" parTransId="{FDD59A98-5413-4434-8DC1-7DF4B1D9C928}" sibTransId="{6C879D9C-8CA7-4280-8B3A-AF6856C8A1A4}"/>
    <dgm:cxn modelId="{467AD4D2-80A9-431B-98EC-141597CC85FD}" type="presOf" srcId="{13E6143E-3AE3-4A1E-A16D-C96A8323BDC6}" destId="{CD140378-386D-4430-9B29-B12CE2D6642D}" srcOrd="0" destOrd="0" presId="urn:microsoft.com/office/officeart/2005/8/layout/orgChart1"/>
    <dgm:cxn modelId="{4DDF35D4-A57F-443C-9F39-2AD976338BE0}" type="presOf" srcId="{A7195517-ECE8-4D75-B284-DD7FC3A1C483}" destId="{FA714205-4B82-446D-B68E-7F652DFBEEDA}" srcOrd="1" destOrd="0" presId="urn:microsoft.com/office/officeart/2005/8/layout/orgChart1"/>
    <dgm:cxn modelId="{BA97BFD8-B7B0-4106-BF27-FEBACFDBFFAC}" type="presOf" srcId="{8C988897-87B7-4517-9047-DFA7A88C38ED}" destId="{15FEAFC3-CF70-4F3C-9079-5273AB9F4416}" srcOrd="1" destOrd="0" presId="urn:microsoft.com/office/officeart/2005/8/layout/orgChart1"/>
    <dgm:cxn modelId="{406F2FD9-32AE-40AF-B30C-0856D550E516}" type="presOf" srcId="{4D793E25-9924-492C-B00A-32F155E6050A}" destId="{D8FC26CB-72A7-4E2F-A201-F28F11841DA8}" srcOrd="1" destOrd="0" presId="urn:microsoft.com/office/officeart/2005/8/layout/orgChart1"/>
    <dgm:cxn modelId="{425682D9-74E3-4A11-9F36-FD3DFCB18442}" type="presOf" srcId="{C3907856-EB3C-408D-9DFE-CF514D31CB1C}" destId="{7BA5241B-B7BC-41D5-A4B6-BA92111D315F}" srcOrd="0" destOrd="0" presId="urn:microsoft.com/office/officeart/2005/8/layout/orgChart1"/>
    <dgm:cxn modelId="{69C047DD-2A64-42FE-B63F-1D6685C596A7}" srcId="{CEFE54B5-1BF0-40D8-A238-41A7896496D8}" destId="{82AAA354-A7CE-4AB1-99AB-2B651718BBA4}" srcOrd="0" destOrd="0" parTransId="{3D973D13-7791-456C-B9BE-CDB53C40AD0D}" sibTransId="{86D78BF2-5602-4D82-8179-A3BEDE65EE3C}"/>
    <dgm:cxn modelId="{D9D789E2-07D7-460A-A2C5-A431D6E5C838}" type="presOf" srcId="{DF6A2EB0-C2F6-4627-BDB3-F3F1C0532CDD}" destId="{EC1D73F8-57E9-457F-8654-686756042FBD}" srcOrd="0" destOrd="0" presId="urn:microsoft.com/office/officeart/2005/8/layout/orgChart1"/>
    <dgm:cxn modelId="{A02B63E4-39D3-413C-A5AF-537CBC3F6039}" type="presOf" srcId="{7C6CCB63-A967-4C87-94BE-1382925217CD}" destId="{95308955-17D6-43F3-99DD-85B0F457CC6A}" srcOrd="0" destOrd="0" presId="urn:microsoft.com/office/officeart/2005/8/layout/orgChart1"/>
    <dgm:cxn modelId="{C92559E4-49A2-44F7-A89F-D4C210370F92}" type="presOf" srcId="{D0BD1B9D-6FCD-4A08-9C31-03A5F2B41B4F}" destId="{AECCE8B3-DA7B-4E76-B030-79E4CD768A70}" srcOrd="0" destOrd="0" presId="urn:microsoft.com/office/officeart/2005/8/layout/orgChart1"/>
    <dgm:cxn modelId="{9DB431E6-8B92-40B8-AAC8-CF6C8F1BF677}" type="presOf" srcId="{0CF47565-496B-452B-A332-F8123452058B}" destId="{609D9515-FD68-488F-BAB0-2D65B595BA72}" srcOrd="0" destOrd="0" presId="urn:microsoft.com/office/officeart/2005/8/layout/orgChart1"/>
    <dgm:cxn modelId="{7DDE78E8-0462-4BDF-8D73-95A3302DABF1}" type="presOf" srcId="{07113328-4499-450A-BD57-0C9620EB93F0}" destId="{CFA625AD-9497-48AF-9C6C-5957C633070F}" srcOrd="0" destOrd="0" presId="urn:microsoft.com/office/officeart/2005/8/layout/orgChart1"/>
    <dgm:cxn modelId="{3F3DE9E9-BCE1-4553-AD2B-5D1514B648D0}" srcId="{54888C6A-2E62-42EC-ABE3-0DF87A629214}" destId="{CEFE54B5-1BF0-40D8-A238-41A7896496D8}" srcOrd="1" destOrd="0" parTransId="{1FB87FED-6972-430F-AC0C-71746CE494E0}" sibTransId="{6561193A-D219-4269-B667-3F90A154D0FB}"/>
    <dgm:cxn modelId="{4BBEA3EB-51A2-422B-96D2-6CA03E2E7962}" type="presOf" srcId="{A3FC52F2-F011-4737-8EB4-60558773279B}" destId="{AFC578FC-B6A9-4C9D-AE35-14F58D2A2F77}" srcOrd="0" destOrd="0" presId="urn:microsoft.com/office/officeart/2005/8/layout/orgChart1"/>
    <dgm:cxn modelId="{279EAAEC-B280-4294-BF70-C79F90D7C039}" type="presOf" srcId="{039FA459-9C06-468E-B1F7-E5A82D5411B4}" destId="{A35E73FB-957F-43C2-897A-B1C7D473680F}" srcOrd="1" destOrd="0" presId="urn:microsoft.com/office/officeart/2005/8/layout/orgChart1"/>
    <dgm:cxn modelId="{7D0E90ED-8B8C-499A-8B8E-B85DEA5ADCB5}" srcId="{BCF27CF9-0ED4-4612-94D1-DC1E000F8967}" destId="{A3FC52F2-F011-4737-8EB4-60558773279B}" srcOrd="0" destOrd="0" parTransId="{C3907856-EB3C-408D-9DFE-CF514D31CB1C}" sibTransId="{52C7C134-FE0C-4547-BD91-D4F8ED58C399}"/>
    <dgm:cxn modelId="{3F1870EE-9A6A-4680-A61D-8A83B2767E65}" type="presOf" srcId="{D0BD1B9D-6FCD-4A08-9C31-03A5F2B41B4F}" destId="{8DF8AE0C-89AC-401A-8557-0836A5A82525}" srcOrd="1" destOrd="0" presId="urn:microsoft.com/office/officeart/2005/8/layout/orgChart1"/>
    <dgm:cxn modelId="{8A9F88F0-5F89-4791-9B52-2AA77ABE6CAB}" type="presOf" srcId="{4D793E25-9924-492C-B00A-32F155E6050A}" destId="{EF7362E5-E6E8-41B8-BEAF-EEAD6195ADB6}" srcOrd="0" destOrd="0" presId="urn:microsoft.com/office/officeart/2005/8/layout/orgChart1"/>
    <dgm:cxn modelId="{14FD0BF2-BF66-453D-9B40-59BB142A62D6}" type="presOf" srcId="{0D6DE103-5F19-4F21-AF6F-B55ED5F6FC89}" destId="{79144865-3B4A-444C-AEA8-09D3B2F37F0F}" srcOrd="1" destOrd="0" presId="urn:microsoft.com/office/officeart/2005/8/layout/orgChart1"/>
    <dgm:cxn modelId="{DB743CF3-49FF-44F2-AD08-3D2C02B7EC98}" srcId="{EF832AFC-3F8E-4FC2-A2C2-34B65B63776D}" destId="{6E006925-3003-4720-8633-AD5D2DB96A2A}" srcOrd="0" destOrd="0" parTransId="{EE21B19B-79F6-4D43-9A5B-C3CB30C837EB}" sibTransId="{3B55E5E6-48FD-4015-BF60-694348163B1F}"/>
    <dgm:cxn modelId="{303A4EF3-88CE-4824-8641-A237843BE4B8}" type="presOf" srcId="{E7F791D8-DB8B-4941-8E11-8F020F632050}" destId="{D39158BC-EC6E-4B40-8CEA-F48343DDDE1E}" srcOrd="0" destOrd="0" presId="urn:microsoft.com/office/officeart/2005/8/layout/orgChart1"/>
    <dgm:cxn modelId="{E20F80F6-2CD3-42B5-9910-7D14EF778F5E}" srcId="{BCF27CF9-0ED4-4612-94D1-DC1E000F8967}" destId="{2AB31F72-6288-44D2-8072-2F3E8CA5E8E6}" srcOrd="4" destOrd="0" parTransId="{F7DB04EC-4168-4743-9845-F6C1C690AAAC}" sibTransId="{93F5CAB4-2AB7-4A78-A535-D6B3D24DA627}"/>
    <dgm:cxn modelId="{B95A3AF8-8B79-43CC-B1E3-D9E4BC7DD5E2}" type="presOf" srcId="{36D2158B-93CC-43DE-AB88-9EFEF1C7063B}" destId="{14B9B20F-EEAC-49AC-860E-E9C3552832C2}" srcOrd="1" destOrd="0" presId="urn:microsoft.com/office/officeart/2005/8/layout/orgChart1"/>
    <dgm:cxn modelId="{4C8624FD-D983-4D74-BAE8-DAF1E98F18CD}" type="presOf" srcId="{0A82C860-67E9-4924-9DCF-FC0CBD8C5010}" destId="{FBFD23C5-1602-4A2F-AD09-F68FE1E1AEEE}" srcOrd="0" destOrd="0" presId="urn:microsoft.com/office/officeart/2005/8/layout/orgChart1"/>
    <dgm:cxn modelId="{97AE87FF-7BA1-4E1E-BACC-821DEC3E9501}" srcId="{BCF27CF9-0ED4-4612-94D1-DC1E000F8967}" destId="{13E6143E-3AE3-4A1E-A16D-C96A8323BDC6}" srcOrd="2" destOrd="0" parTransId="{CDC32E48-8470-4047-9C56-5574FF1AE61B}" sibTransId="{3989C149-0CD7-479A-A0B6-E6DAD0A57E2C}"/>
    <dgm:cxn modelId="{E23D87C9-7ECC-4122-BA0C-6DC608890037}" type="presParOf" srcId="{1D702F36-EFBC-4D33-AFBB-22A512C7F89A}" destId="{7C736579-9C03-4AE0-BC86-D125DC12861F}" srcOrd="0" destOrd="0" presId="urn:microsoft.com/office/officeart/2005/8/layout/orgChart1"/>
    <dgm:cxn modelId="{C45354CD-9DC2-4F0E-A36F-16DBEA994EF5}" type="presParOf" srcId="{7C736579-9C03-4AE0-BC86-D125DC12861F}" destId="{8F92E065-A464-4058-8DC3-9141E7868862}" srcOrd="0" destOrd="0" presId="urn:microsoft.com/office/officeart/2005/8/layout/orgChart1"/>
    <dgm:cxn modelId="{965760FB-332B-4B00-A27B-F37FEE2F9A81}" type="presParOf" srcId="{8F92E065-A464-4058-8DC3-9141E7868862}" destId="{B748CB5D-1BF0-40F4-B0E2-608095375244}" srcOrd="0" destOrd="0" presId="urn:microsoft.com/office/officeart/2005/8/layout/orgChart1"/>
    <dgm:cxn modelId="{CBBD5483-CAC2-4997-8125-8B8C0C627861}" type="presParOf" srcId="{8F92E065-A464-4058-8DC3-9141E7868862}" destId="{70B29599-2987-4A59-9606-E2C559936213}" srcOrd="1" destOrd="0" presId="urn:microsoft.com/office/officeart/2005/8/layout/orgChart1"/>
    <dgm:cxn modelId="{4CC531BC-438C-4431-BE98-7FBEBB9F1707}" type="presParOf" srcId="{7C736579-9C03-4AE0-BC86-D125DC12861F}" destId="{FAE866CE-561F-4C3A-9064-6F1D0BD6CF34}" srcOrd="1" destOrd="0" presId="urn:microsoft.com/office/officeart/2005/8/layout/orgChart1"/>
    <dgm:cxn modelId="{C7CDBF89-3E05-4E1A-AEC6-C163EE8D4F84}" type="presParOf" srcId="{FAE866CE-561F-4C3A-9064-6F1D0BD6CF34}" destId="{2551C1A7-DE50-4108-9266-6F69CB481F73}" srcOrd="0" destOrd="0" presId="urn:microsoft.com/office/officeart/2005/8/layout/orgChart1"/>
    <dgm:cxn modelId="{E83EEF6A-27D0-4698-B33E-962F832D7D92}" type="presParOf" srcId="{FAE866CE-561F-4C3A-9064-6F1D0BD6CF34}" destId="{89DBECB9-24C9-4020-8CF4-9284AF9BDD80}" srcOrd="1" destOrd="0" presId="urn:microsoft.com/office/officeart/2005/8/layout/orgChart1"/>
    <dgm:cxn modelId="{525758F5-E554-4205-837A-E93E9558B3D3}" type="presParOf" srcId="{89DBECB9-24C9-4020-8CF4-9284AF9BDD80}" destId="{DB19F846-2D40-48D2-818A-92BFF690C6F2}" srcOrd="0" destOrd="0" presId="urn:microsoft.com/office/officeart/2005/8/layout/orgChart1"/>
    <dgm:cxn modelId="{C96EF1EA-8209-4B02-8A8F-4DBE7FE1A0EC}" type="presParOf" srcId="{DB19F846-2D40-48D2-818A-92BFF690C6F2}" destId="{D39158BC-EC6E-4B40-8CEA-F48343DDDE1E}" srcOrd="0" destOrd="0" presId="urn:microsoft.com/office/officeart/2005/8/layout/orgChart1"/>
    <dgm:cxn modelId="{37D8D7B0-647D-4C7B-A7D1-D1C4BE050A28}" type="presParOf" srcId="{DB19F846-2D40-48D2-818A-92BFF690C6F2}" destId="{0493376E-91BF-4B13-8A9A-8F5A5A027EBD}" srcOrd="1" destOrd="0" presId="urn:microsoft.com/office/officeart/2005/8/layout/orgChart1"/>
    <dgm:cxn modelId="{91BC168B-D899-4DD2-9476-887AED8D106B}" type="presParOf" srcId="{89DBECB9-24C9-4020-8CF4-9284AF9BDD80}" destId="{381EAE75-06E3-4FC4-B3F3-D052430AA7A2}" srcOrd="1" destOrd="0" presId="urn:microsoft.com/office/officeart/2005/8/layout/orgChart1"/>
    <dgm:cxn modelId="{0A4CCEC8-47D1-43E3-A88C-365AB182F55C}" type="presParOf" srcId="{381EAE75-06E3-4FC4-B3F3-D052430AA7A2}" destId="{7171381D-93AB-4757-BC70-85E048680918}" srcOrd="0" destOrd="0" presId="urn:microsoft.com/office/officeart/2005/8/layout/orgChart1"/>
    <dgm:cxn modelId="{36F24E56-08B4-4E49-A12F-B4F8AACCCE16}" type="presParOf" srcId="{381EAE75-06E3-4FC4-B3F3-D052430AA7A2}" destId="{79E6D2E0-650D-4B3C-BD53-455F528E0347}" srcOrd="1" destOrd="0" presId="urn:microsoft.com/office/officeart/2005/8/layout/orgChart1"/>
    <dgm:cxn modelId="{7BA33B5F-403B-4660-A8A2-17223827A752}" type="presParOf" srcId="{79E6D2E0-650D-4B3C-BD53-455F528E0347}" destId="{B821B186-CDA8-46AB-B34F-024F7CF5F91E}" srcOrd="0" destOrd="0" presId="urn:microsoft.com/office/officeart/2005/8/layout/orgChart1"/>
    <dgm:cxn modelId="{53DEA70C-F831-4FED-95B9-AD052F2F06DF}" type="presParOf" srcId="{B821B186-CDA8-46AB-B34F-024F7CF5F91E}" destId="{DD866608-B532-4C1E-9B13-FA9B1BC79E0F}" srcOrd="0" destOrd="0" presId="urn:microsoft.com/office/officeart/2005/8/layout/orgChart1"/>
    <dgm:cxn modelId="{3D8EF837-4A86-42C5-97CA-256124FBD1D4}" type="presParOf" srcId="{B821B186-CDA8-46AB-B34F-024F7CF5F91E}" destId="{626D83D9-7DC2-49A7-9CAE-3B1BAE9F1C8F}" srcOrd="1" destOrd="0" presId="urn:microsoft.com/office/officeart/2005/8/layout/orgChart1"/>
    <dgm:cxn modelId="{0790D80A-30AF-4895-977A-0D64ED4578C9}" type="presParOf" srcId="{79E6D2E0-650D-4B3C-BD53-455F528E0347}" destId="{7529C337-3F1A-48D3-8371-05182F7FDDBA}" srcOrd="1" destOrd="0" presId="urn:microsoft.com/office/officeart/2005/8/layout/orgChart1"/>
    <dgm:cxn modelId="{E240C129-05F7-4F69-B087-8B901966D873}" type="presParOf" srcId="{79E6D2E0-650D-4B3C-BD53-455F528E0347}" destId="{F5C0DCC5-069C-41EF-96E8-5C44A861B80C}" srcOrd="2" destOrd="0" presId="urn:microsoft.com/office/officeart/2005/8/layout/orgChart1"/>
    <dgm:cxn modelId="{D938E006-0E71-4716-A628-9890432EBFF2}" type="presParOf" srcId="{381EAE75-06E3-4FC4-B3F3-D052430AA7A2}" destId="{4617481A-8433-4D8A-9D92-8280515D5E7A}" srcOrd="2" destOrd="0" presId="urn:microsoft.com/office/officeart/2005/8/layout/orgChart1"/>
    <dgm:cxn modelId="{38D6C0AD-5C8D-4BA2-8FE1-FAE5D735BAF3}" type="presParOf" srcId="{381EAE75-06E3-4FC4-B3F3-D052430AA7A2}" destId="{758C4A9F-C30E-4953-BF90-265BABA0581D}" srcOrd="3" destOrd="0" presId="urn:microsoft.com/office/officeart/2005/8/layout/orgChart1"/>
    <dgm:cxn modelId="{02129979-BA11-483C-9E1A-57FD1CA11F52}" type="presParOf" srcId="{758C4A9F-C30E-4953-BF90-265BABA0581D}" destId="{DCC1CDE0-6ED1-45F1-95DA-E0969DACE8A5}" srcOrd="0" destOrd="0" presId="urn:microsoft.com/office/officeart/2005/8/layout/orgChart1"/>
    <dgm:cxn modelId="{E42E4473-B9F9-4CFB-A4A4-035EF347F918}" type="presParOf" srcId="{DCC1CDE0-6ED1-45F1-95DA-E0969DACE8A5}" destId="{57776C70-4867-4A75-BB91-ECE4EAD53C8E}" srcOrd="0" destOrd="0" presId="urn:microsoft.com/office/officeart/2005/8/layout/orgChart1"/>
    <dgm:cxn modelId="{BF278343-B846-4F81-91DF-CD0A7ED8CDBB}" type="presParOf" srcId="{DCC1CDE0-6ED1-45F1-95DA-E0969DACE8A5}" destId="{15FEAFC3-CF70-4F3C-9079-5273AB9F4416}" srcOrd="1" destOrd="0" presId="urn:microsoft.com/office/officeart/2005/8/layout/orgChart1"/>
    <dgm:cxn modelId="{AB77906C-296C-4F10-9F57-24518A2E7724}" type="presParOf" srcId="{758C4A9F-C30E-4953-BF90-265BABA0581D}" destId="{1B178C22-EA4D-4D36-B1AF-D7FC02535957}" srcOrd="1" destOrd="0" presId="urn:microsoft.com/office/officeart/2005/8/layout/orgChart1"/>
    <dgm:cxn modelId="{A11D4384-D88B-4499-B3EC-E389C1A6327E}" type="presParOf" srcId="{1B178C22-EA4D-4D36-B1AF-D7FC02535957}" destId="{4B911C8F-417C-49C0-AAE0-9CE821F23A53}" srcOrd="0" destOrd="0" presId="urn:microsoft.com/office/officeart/2005/8/layout/orgChart1"/>
    <dgm:cxn modelId="{B31DB3DE-22D6-422D-B86A-DC0780A3E4E9}" type="presParOf" srcId="{1B178C22-EA4D-4D36-B1AF-D7FC02535957}" destId="{345B488C-A60D-4537-A1C3-87297086D5AF}" srcOrd="1" destOrd="0" presId="urn:microsoft.com/office/officeart/2005/8/layout/orgChart1"/>
    <dgm:cxn modelId="{B2448199-C334-4738-8202-0BD288D16423}" type="presParOf" srcId="{345B488C-A60D-4537-A1C3-87297086D5AF}" destId="{0185262F-4486-4A81-BBAD-30FA74768CFF}" srcOrd="0" destOrd="0" presId="urn:microsoft.com/office/officeart/2005/8/layout/orgChart1"/>
    <dgm:cxn modelId="{44CBEA8D-5910-421B-B290-E7CD0E1C1A8A}" type="presParOf" srcId="{0185262F-4486-4A81-BBAD-30FA74768CFF}" destId="{1F4D08F4-B6A1-4643-8643-00E57F1133EA}" srcOrd="0" destOrd="0" presId="urn:microsoft.com/office/officeart/2005/8/layout/orgChart1"/>
    <dgm:cxn modelId="{D28285A8-704F-4076-A176-F36FB8781278}" type="presParOf" srcId="{0185262F-4486-4A81-BBAD-30FA74768CFF}" destId="{E2E37F56-BA03-4D12-AA70-FEF5EDBA69E0}" srcOrd="1" destOrd="0" presId="urn:microsoft.com/office/officeart/2005/8/layout/orgChart1"/>
    <dgm:cxn modelId="{D0D789D7-1E2A-405B-803C-8196E75D7CC3}" type="presParOf" srcId="{345B488C-A60D-4537-A1C3-87297086D5AF}" destId="{939E656E-02D4-4484-AD78-4DB8B4666A76}" srcOrd="1" destOrd="0" presId="urn:microsoft.com/office/officeart/2005/8/layout/orgChart1"/>
    <dgm:cxn modelId="{319970C8-04F7-4F7E-AC73-22098814D2AD}" type="presParOf" srcId="{345B488C-A60D-4537-A1C3-87297086D5AF}" destId="{9F5D827E-DD8E-48EA-8B98-C974923FE59A}" srcOrd="2" destOrd="0" presId="urn:microsoft.com/office/officeart/2005/8/layout/orgChart1"/>
    <dgm:cxn modelId="{EFF53A10-7D3B-4EEA-A558-4D8DE36A5770}" type="presParOf" srcId="{1B178C22-EA4D-4D36-B1AF-D7FC02535957}" destId="{5F27B44E-4915-466B-B832-3FF70F523FEB}" srcOrd="2" destOrd="0" presId="urn:microsoft.com/office/officeart/2005/8/layout/orgChart1"/>
    <dgm:cxn modelId="{E225B175-E40A-44DC-BA7F-EDDE31BCA0B3}" type="presParOf" srcId="{1B178C22-EA4D-4D36-B1AF-D7FC02535957}" destId="{5B513C3E-6329-4A1B-BFEB-1ECA2EC96EE9}" srcOrd="3" destOrd="0" presId="urn:microsoft.com/office/officeart/2005/8/layout/orgChart1"/>
    <dgm:cxn modelId="{D212542B-EEB6-4699-8BE1-CA7BBE6662C6}" type="presParOf" srcId="{5B513C3E-6329-4A1B-BFEB-1ECA2EC96EE9}" destId="{A545F28C-A406-4024-AFE2-62D786B723BF}" srcOrd="0" destOrd="0" presId="urn:microsoft.com/office/officeart/2005/8/layout/orgChart1"/>
    <dgm:cxn modelId="{615DFC8F-871C-4603-93A4-D4072C169579}" type="presParOf" srcId="{A545F28C-A406-4024-AFE2-62D786B723BF}" destId="{C79CBE1C-5BCD-423C-9518-DB48B8FD8151}" srcOrd="0" destOrd="0" presId="urn:microsoft.com/office/officeart/2005/8/layout/orgChart1"/>
    <dgm:cxn modelId="{98B59992-22C2-470F-82D0-F1B8322509B4}" type="presParOf" srcId="{A545F28C-A406-4024-AFE2-62D786B723BF}" destId="{9438E796-ECFF-45AF-BDAD-F51F38B80D1A}" srcOrd="1" destOrd="0" presId="urn:microsoft.com/office/officeart/2005/8/layout/orgChart1"/>
    <dgm:cxn modelId="{B1C44597-9BD7-4834-97A2-24DEF6ED8010}" type="presParOf" srcId="{5B513C3E-6329-4A1B-BFEB-1ECA2EC96EE9}" destId="{6162516E-BD21-451B-ACAE-2F0D599DC449}" srcOrd="1" destOrd="0" presId="urn:microsoft.com/office/officeart/2005/8/layout/orgChart1"/>
    <dgm:cxn modelId="{4E91E828-4720-4ED1-92A8-3240905E3354}" type="presParOf" srcId="{5B513C3E-6329-4A1B-BFEB-1ECA2EC96EE9}" destId="{70B8ECED-25A7-4C38-9712-D19C6F945148}" srcOrd="2" destOrd="0" presId="urn:microsoft.com/office/officeart/2005/8/layout/orgChart1"/>
    <dgm:cxn modelId="{CB2BDC22-EF68-4CF1-9384-818C0787AEED}" type="presParOf" srcId="{1B178C22-EA4D-4D36-B1AF-D7FC02535957}" destId="{07F66D99-B4F5-48C7-93B8-AB3D74072266}" srcOrd="4" destOrd="0" presId="urn:microsoft.com/office/officeart/2005/8/layout/orgChart1"/>
    <dgm:cxn modelId="{BDAB7AFF-8477-4A2A-AA50-511172087D84}" type="presParOf" srcId="{1B178C22-EA4D-4D36-B1AF-D7FC02535957}" destId="{B72475A6-A71F-4C7F-ADD0-09334CAE0458}" srcOrd="5" destOrd="0" presId="urn:microsoft.com/office/officeart/2005/8/layout/orgChart1"/>
    <dgm:cxn modelId="{02B43087-A782-4849-B659-839C1C4C216D}" type="presParOf" srcId="{B72475A6-A71F-4C7F-ADD0-09334CAE0458}" destId="{DBADEBEC-4756-4E0A-8036-A14CBFB960EB}" srcOrd="0" destOrd="0" presId="urn:microsoft.com/office/officeart/2005/8/layout/orgChart1"/>
    <dgm:cxn modelId="{F9374ABB-C732-446E-A7FB-B57B3348D077}" type="presParOf" srcId="{DBADEBEC-4756-4E0A-8036-A14CBFB960EB}" destId="{8EEA6470-AFE7-4291-ACFD-8B7320266F1F}" srcOrd="0" destOrd="0" presId="urn:microsoft.com/office/officeart/2005/8/layout/orgChart1"/>
    <dgm:cxn modelId="{F563EC34-56D0-4BE6-B46B-C633736FA871}" type="presParOf" srcId="{DBADEBEC-4756-4E0A-8036-A14CBFB960EB}" destId="{EC5FC57E-FFD1-4726-A3E4-2553AA7909D3}" srcOrd="1" destOrd="0" presId="urn:microsoft.com/office/officeart/2005/8/layout/orgChart1"/>
    <dgm:cxn modelId="{FB52AD36-58CF-48D4-80EC-E57D4C38505B}" type="presParOf" srcId="{B72475A6-A71F-4C7F-ADD0-09334CAE0458}" destId="{4D5A0297-B561-4CAE-B4AE-664240F079F6}" srcOrd="1" destOrd="0" presId="urn:microsoft.com/office/officeart/2005/8/layout/orgChart1"/>
    <dgm:cxn modelId="{3A3CE495-E203-4314-9C3F-4AC72FD3015B}" type="presParOf" srcId="{B72475A6-A71F-4C7F-ADD0-09334CAE0458}" destId="{5C53ABD1-E59C-4483-BD92-6E2BFC55B79B}" srcOrd="2" destOrd="0" presId="urn:microsoft.com/office/officeart/2005/8/layout/orgChart1"/>
    <dgm:cxn modelId="{ECA9548D-E938-4AA2-8E36-CD10F0213835}" type="presParOf" srcId="{1B178C22-EA4D-4D36-B1AF-D7FC02535957}" destId="{983796B0-4E24-4037-A756-23DAC096EEDD}" srcOrd="6" destOrd="0" presId="urn:microsoft.com/office/officeart/2005/8/layout/orgChart1"/>
    <dgm:cxn modelId="{3BE86033-4975-4588-83D2-E47800B01CBA}" type="presParOf" srcId="{1B178C22-EA4D-4D36-B1AF-D7FC02535957}" destId="{4F03B16F-0CD1-4F73-AE40-373E35BB09F6}" srcOrd="7" destOrd="0" presId="urn:microsoft.com/office/officeart/2005/8/layout/orgChart1"/>
    <dgm:cxn modelId="{18C929D8-2199-4B7F-9E60-6CDB9C17AA9E}" type="presParOf" srcId="{4F03B16F-0CD1-4F73-AE40-373E35BB09F6}" destId="{982166F2-55D1-4F2F-ACE6-7257FB6EBFCD}" srcOrd="0" destOrd="0" presId="urn:microsoft.com/office/officeart/2005/8/layout/orgChart1"/>
    <dgm:cxn modelId="{6416B1B9-5C72-446D-99CE-630BC29B5A21}" type="presParOf" srcId="{982166F2-55D1-4F2F-ACE6-7257FB6EBFCD}" destId="{BDED5FC7-7ECA-4F93-98CF-FB3DDFEDBC40}" srcOrd="0" destOrd="0" presId="urn:microsoft.com/office/officeart/2005/8/layout/orgChart1"/>
    <dgm:cxn modelId="{CCCD8935-D46E-457A-A501-49D0782D1E42}" type="presParOf" srcId="{982166F2-55D1-4F2F-ACE6-7257FB6EBFCD}" destId="{A35E73FB-957F-43C2-897A-B1C7D473680F}" srcOrd="1" destOrd="0" presId="urn:microsoft.com/office/officeart/2005/8/layout/orgChart1"/>
    <dgm:cxn modelId="{0013E786-D4DB-4684-898A-56DF0CDA9832}" type="presParOf" srcId="{4F03B16F-0CD1-4F73-AE40-373E35BB09F6}" destId="{DB20039D-E80F-45B7-BEFC-CC83647384D1}" srcOrd="1" destOrd="0" presId="urn:microsoft.com/office/officeart/2005/8/layout/orgChart1"/>
    <dgm:cxn modelId="{EFBCAFF0-6E4E-44B7-99AE-F3D21F2F8BEA}" type="presParOf" srcId="{4F03B16F-0CD1-4F73-AE40-373E35BB09F6}" destId="{606C1A11-5207-4326-813F-D30B0337645E}" srcOrd="2" destOrd="0" presId="urn:microsoft.com/office/officeart/2005/8/layout/orgChart1"/>
    <dgm:cxn modelId="{1FEED2E6-0DF6-4F42-8493-26FA6319BC95}" type="presParOf" srcId="{1B178C22-EA4D-4D36-B1AF-D7FC02535957}" destId="{5AC7132E-9C97-4821-9AB9-A1B5D43163E9}" srcOrd="8" destOrd="0" presId="urn:microsoft.com/office/officeart/2005/8/layout/orgChart1"/>
    <dgm:cxn modelId="{ABF16F06-3677-4DEF-93E9-091315D4CDB9}" type="presParOf" srcId="{1B178C22-EA4D-4D36-B1AF-D7FC02535957}" destId="{0BA209E4-D36D-409B-80D8-7847D7F6E3CE}" srcOrd="9" destOrd="0" presId="urn:microsoft.com/office/officeart/2005/8/layout/orgChart1"/>
    <dgm:cxn modelId="{AC0A4046-1D60-44E2-99F7-A298AFE99789}" type="presParOf" srcId="{0BA209E4-D36D-409B-80D8-7847D7F6E3CE}" destId="{62AA3CB0-ABBF-4DF4-AD13-7566DE887EB4}" srcOrd="0" destOrd="0" presId="urn:microsoft.com/office/officeart/2005/8/layout/orgChart1"/>
    <dgm:cxn modelId="{000A49D0-129F-40D1-84C6-C6BD8939125D}" type="presParOf" srcId="{62AA3CB0-ABBF-4DF4-AD13-7566DE887EB4}" destId="{D0C06A9D-9519-414B-BFF8-974E13F78F47}" srcOrd="0" destOrd="0" presId="urn:microsoft.com/office/officeart/2005/8/layout/orgChart1"/>
    <dgm:cxn modelId="{4EA917D0-8555-44CF-AA25-CB86DAA82E9D}" type="presParOf" srcId="{62AA3CB0-ABBF-4DF4-AD13-7566DE887EB4}" destId="{A88EF65C-30E4-4BAB-91D7-5FCA3657199C}" srcOrd="1" destOrd="0" presId="urn:microsoft.com/office/officeart/2005/8/layout/orgChart1"/>
    <dgm:cxn modelId="{96BA01DC-BA1A-472B-B953-6944E276A5CB}" type="presParOf" srcId="{0BA209E4-D36D-409B-80D8-7847D7F6E3CE}" destId="{1A509501-179F-4793-AFAC-EA635C5BE1EA}" srcOrd="1" destOrd="0" presId="urn:microsoft.com/office/officeart/2005/8/layout/orgChart1"/>
    <dgm:cxn modelId="{5477435B-4190-4410-BD39-A9563BA477D2}" type="presParOf" srcId="{0BA209E4-D36D-409B-80D8-7847D7F6E3CE}" destId="{45560DA3-8A58-46ED-A2B2-045EFA99D928}" srcOrd="2" destOrd="0" presId="urn:microsoft.com/office/officeart/2005/8/layout/orgChart1"/>
    <dgm:cxn modelId="{9EA3F25A-45D8-4A96-A984-30A5FCFAA015}" type="presParOf" srcId="{1B178C22-EA4D-4D36-B1AF-D7FC02535957}" destId="{0CBDE9EB-5821-4336-A084-BD7690A27F60}" srcOrd="10" destOrd="0" presId="urn:microsoft.com/office/officeart/2005/8/layout/orgChart1"/>
    <dgm:cxn modelId="{FBCD5A08-3B75-4F44-B15E-6E571E346B36}" type="presParOf" srcId="{1B178C22-EA4D-4D36-B1AF-D7FC02535957}" destId="{D00C3EFE-24A9-474F-A311-8B3689436531}" srcOrd="11" destOrd="0" presId="urn:microsoft.com/office/officeart/2005/8/layout/orgChart1"/>
    <dgm:cxn modelId="{D0AE0EA5-9CB6-45A0-9EAB-7055B9362A1E}" type="presParOf" srcId="{D00C3EFE-24A9-474F-A311-8B3689436531}" destId="{97E76F27-4B03-412B-BE11-A7A8058031CA}" srcOrd="0" destOrd="0" presId="urn:microsoft.com/office/officeart/2005/8/layout/orgChart1"/>
    <dgm:cxn modelId="{A78F64A1-83F3-46C2-8B8C-EDD406564DC5}" type="presParOf" srcId="{97E76F27-4B03-412B-BE11-A7A8058031CA}" destId="{90ACCBF6-8CCD-45FE-A2D6-178440392A5C}" srcOrd="0" destOrd="0" presId="urn:microsoft.com/office/officeart/2005/8/layout/orgChart1"/>
    <dgm:cxn modelId="{D41252AB-9847-4915-B714-429F6BF7BDF0}" type="presParOf" srcId="{97E76F27-4B03-412B-BE11-A7A8058031CA}" destId="{0F1C5F80-8969-4F48-BD14-9FA94170E033}" srcOrd="1" destOrd="0" presId="urn:microsoft.com/office/officeart/2005/8/layout/orgChart1"/>
    <dgm:cxn modelId="{BF6369E0-EEE2-4978-9963-5830F9BE9385}" type="presParOf" srcId="{D00C3EFE-24A9-474F-A311-8B3689436531}" destId="{39B9E323-7C7C-438C-8EDD-E99CB8E8E4EF}" srcOrd="1" destOrd="0" presId="urn:microsoft.com/office/officeart/2005/8/layout/orgChart1"/>
    <dgm:cxn modelId="{FAAC5404-A321-49CC-B003-88EF4B92E982}" type="presParOf" srcId="{D00C3EFE-24A9-474F-A311-8B3689436531}" destId="{0F884F7E-E24C-4F19-804E-E06856C1A023}" srcOrd="2" destOrd="0" presId="urn:microsoft.com/office/officeart/2005/8/layout/orgChart1"/>
    <dgm:cxn modelId="{1C6782CE-2455-4954-BEEF-ACD13120DF06}" type="presParOf" srcId="{758C4A9F-C30E-4953-BF90-265BABA0581D}" destId="{2614C827-FB91-461A-A733-F1E13A0FE48A}" srcOrd="2" destOrd="0" presId="urn:microsoft.com/office/officeart/2005/8/layout/orgChart1"/>
    <dgm:cxn modelId="{0E8E5792-DBCC-4845-B5D9-9CE7D00BFAE2}" type="presParOf" srcId="{381EAE75-06E3-4FC4-B3F3-D052430AA7A2}" destId="{9DFDC392-D7E9-4EFA-91C1-637CE0F3CB14}" srcOrd="4" destOrd="0" presId="urn:microsoft.com/office/officeart/2005/8/layout/orgChart1"/>
    <dgm:cxn modelId="{7AB5BF39-821A-4AE8-BDFA-12F354A53BB3}" type="presParOf" srcId="{381EAE75-06E3-4FC4-B3F3-D052430AA7A2}" destId="{DFD22D27-3764-4CA2-B096-21DF26393BD4}" srcOrd="5" destOrd="0" presId="urn:microsoft.com/office/officeart/2005/8/layout/orgChart1"/>
    <dgm:cxn modelId="{AC2C6F19-021C-4854-BE6E-4715FDA07539}" type="presParOf" srcId="{DFD22D27-3764-4CA2-B096-21DF26393BD4}" destId="{58AA9A03-210D-4578-A296-A1D511C79BAC}" srcOrd="0" destOrd="0" presId="urn:microsoft.com/office/officeart/2005/8/layout/orgChart1"/>
    <dgm:cxn modelId="{4E1D9D8F-4F6B-4CE4-974A-9648A3337ECA}" type="presParOf" srcId="{58AA9A03-210D-4578-A296-A1D511C79BAC}" destId="{3D20D6D5-CB2A-4FD8-8A02-4CBAE6D30986}" srcOrd="0" destOrd="0" presId="urn:microsoft.com/office/officeart/2005/8/layout/orgChart1"/>
    <dgm:cxn modelId="{B73E3E3E-2E2E-4D2B-9177-FB3B9434015A}" type="presParOf" srcId="{58AA9A03-210D-4578-A296-A1D511C79BAC}" destId="{8B94B0B0-A045-4682-A903-89880EC43062}" srcOrd="1" destOrd="0" presId="urn:microsoft.com/office/officeart/2005/8/layout/orgChart1"/>
    <dgm:cxn modelId="{174AAAEB-288E-4660-AC83-C2FF9F1ACBCE}" type="presParOf" srcId="{DFD22D27-3764-4CA2-B096-21DF26393BD4}" destId="{0C33098A-1235-4E7D-8915-AFA963EB0D56}" srcOrd="1" destOrd="0" presId="urn:microsoft.com/office/officeart/2005/8/layout/orgChart1"/>
    <dgm:cxn modelId="{C63B7452-B54D-4C49-BEE3-64869B4B14D2}" type="presParOf" srcId="{0C33098A-1235-4E7D-8915-AFA963EB0D56}" destId="{2F800CCF-7503-4A00-A283-240AB8218231}" srcOrd="0" destOrd="0" presId="urn:microsoft.com/office/officeart/2005/8/layout/orgChart1"/>
    <dgm:cxn modelId="{C4AA54EC-1613-4744-A905-DD532D974721}" type="presParOf" srcId="{0C33098A-1235-4E7D-8915-AFA963EB0D56}" destId="{35EF278C-3CC5-4AAA-A0E8-0339E9483A9E}" srcOrd="1" destOrd="0" presId="urn:microsoft.com/office/officeart/2005/8/layout/orgChart1"/>
    <dgm:cxn modelId="{168792ED-5E2B-404F-8306-1B3C8CFFEEB8}" type="presParOf" srcId="{35EF278C-3CC5-4AAA-A0E8-0339E9483A9E}" destId="{06CCCCBE-CAA9-4002-AFCA-9161D075CE2F}" srcOrd="0" destOrd="0" presId="urn:microsoft.com/office/officeart/2005/8/layout/orgChart1"/>
    <dgm:cxn modelId="{82F2F3B8-1501-4D0B-9247-3E4D523682F9}" type="presParOf" srcId="{06CCCCBE-CAA9-4002-AFCA-9161D075CE2F}" destId="{DD5A3028-6030-45E1-8FF0-3EE5731A4FB0}" srcOrd="0" destOrd="0" presId="urn:microsoft.com/office/officeart/2005/8/layout/orgChart1"/>
    <dgm:cxn modelId="{4BF4F3C8-3E1C-47AE-88DF-7C5608BC5F4F}" type="presParOf" srcId="{06CCCCBE-CAA9-4002-AFCA-9161D075CE2F}" destId="{063F868D-2DDA-456A-9D63-024C5531A8F0}" srcOrd="1" destOrd="0" presId="urn:microsoft.com/office/officeart/2005/8/layout/orgChart1"/>
    <dgm:cxn modelId="{B880B97E-88D8-4949-B8AF-628ECFAA7E60}" type="presParOf" srcId="{35EF278C-3CC5-4AAA-A0E8-0339E9483A9E}" destId="{EC519195-8D77-478A-BCA8-BCF8C154C03F}" srcOrd="1" destOrd="0" presId="urn:microsoft.com/office/officeart/2005/8/layout/orgChart1"/>
    <dgm:cxn modelId="{5856B2B0-21A9-439B-A164-A12B5948A8E9}" type="presParOf" srcId="{35EF278C-3CC5-4AAA-A0E8-0339E9483A9E}" destId="{37A9F8C6-A63D-4634-86B0-35DCEE5BDE27}" srcOrd="2" destOrd="0" presId="urn:microsoft.com/office/officeart/2005/8/layout/orgChart1"/>
    <dgm:cxn modelId="{3420EACB-772D-4D7C-B72D-CE3B50902584}" type="presParOf" srcId="{0C33098A-1235-4E7D-8915-AFA963EB0D56}" destId="{EC1D73F8-57E9-457F-8654-686756042FBD}" srcOrd="2" destOrd="0" presId="urn:microsoft.com/office/officeart/2005/8/layout/orgChart1"/>
    <dgm:cxn modelId="{9AE35790-4F59-4691-A84A-0B0F8FF52A64}" type="presParOf" srcId="{0C33098A-1235-4E7D-8915-AFA963EB0D56}" destId="{F36DA18F-26A3-4078-9C98-F3F4E8A353F7}" srcOrd="3" destOrd="0" presId="urn:microsoft.com/office/officeart/2005/8/layout/orgChart1"/>
    <dgm:cxn modelId="{0B421A4F-BA0C-425F-AD1F-009F72658F3C}" type="presParOf" srcId="{F36DA18F-26A3-4078-9C98-F3F4E8A353F7}" destId="{BADB6371-B89A-4B2C-AF93-121404DD68A7}" srcOrd="0" destOrd="0" presId="urn:microsoft.com/office/officeart/2005/8/layout/orgChart1"/>
    <dgm:cxn modelId="{5C7C0112-AC69-46E5-BDA1-EB01E15476B6}" type="presParOf" srcId="{BADB6371-B89A-4B2C-AF93-121404DD68A7}" destId="{15AF2AF8-D5F0-498F-90EB-7B4704CB01AF}" srcOrd="0" destOrd="0" presId="urn:microsoft.com/office/officeart/2005/8/layout/orgChart1"/>
    <dgm:cxn modelId="{F4D6E9E1-C502-4661-83A4-3E878EB30313}" type="presParOf" srcId="{BADB6371-B89A-4B2C-AF93-121404DD68A7}" destId="{02C4CFB1-59D2-4729-AA7C-CF68C37FF919}" srcOrd="1" destOrd="0" presId="urn:microsoft.com/office/officeart/2005/8/layout/orgChart1"/>
    <dgm:cxn modelId="{5492B7AD-2BAA-4754-9DA3-3F407037963F}" type="presParOf" srcId="{F36DA18F-26A3-4078-9C98-F3F4E8A353F7}" destId="{5024C93A-081A-491C-8EC4-AEFE818E283E}" srcOrd="1" destOrd="0" presId="urn:microsoft.com/office/officeart/2005/8/layout/orgChart1"/>
    <dgm:cxn modelId="{B3D058BE-C1D8-46EC-99A5-89AAB31E6CF6}" type="presParOf" srcId="{F36DA18F-26A3-4078-9C98-F3F4E8A353F7}" destId="{C1A2B2B3-AE3B-40CE-AB86-45DDF7B9BA72}" srcOrd="2" destOrd="0" presId="urn:microsoft.com/office/officeart/2005/8/layout/orgChart1"/>
    <dgm:cxn modelId="{F2F89DD7-0775-4E34-9C8E-71B74C4F8918}" type="presParOf" srcId="{0C33098A-1235-4E7D-8915-AFA963EB0D56}" destId="{4FB7D99D-33FC-40B1-B378-A6CD35922869}" srcOrd="4" destOrd="0" presId="urn:microsoft.com/office/officeart/2005/8/layout/orgChart1"/>
    <dgm:cxn modelId="{680FED85-7C0D-48D6-A861-4FE4326D209C}" type="presParOf" srcId="{0C33098A-1235-4E7D-8915-AFA963EB0D56}" destId="{393E044A-EC03-4EA6-8A83-F425C4EB90B0}" srcOrd="5" destOrd="0" presId="urn:microsoft.com/office/officeart/2005/8/layout/orgChart1"/>
    <dgm:cxn modelId="{EB0CBED1-D840-4AB7-AB09-48643CC24BF7}" type="presParOf" srcId="{393E044A-EC03-4EA6-8A83-F425C4EB90B0}" destId="{69100B25-913B-4A59-BC47-06D1E52E09D0}" srcOrd="0" destOrd="0" presId="urn:microsoft.com/office/officeart/2005/8/layout/orgChart1"/>
    <dgm:cxn modelId="{710B4F06-AB6B-4086-BDB2-6C04D6931DB2}" type="presParOf" srcId="{69100B25-913B-4A59-BC47-06D1E52E09D0}" destId="{85ABCF13-624C-447D-8FF5-0CE2E7720E42}" srcOrd="0" destOrd="0" presId="urn:microsoft.com/office/officeart/2005/8/layout/orgChart1"/>
    <dgm:cxn modelId="{B60C87DC-15B7-46D5-8AEF-72CD688263B4}" type="presParOf" srcId="{69100B25-913B-4A59-BC47-06D1E52E09D0}" destId="{63D41D46-AC02-4BF1-94A7-5E086860FB7F}" srcOrd="1" destOrd="0" presId="urn:microsoft.com/office/officeart/2005/8/layout/orgChart1"/>
    <dgm:cxn modelId="{EB47A2CD-CAB9-477A-B03C-326A6A25D493}" type="presParOf" srcId="{393E044A-EC03-4EA6-8A83-F425C4EB90B0}" destId="{B8280FAA-ADC6-436D-9D7D-DF198B2E1D9D}" srcOrd="1" destOrd="0" presId="urn:microsoft.com/office/officeart/2005/8/layout/orgChart1"/>
    <dgm:cxn modelId="{3FDB1258-255F-4A19-AE5D-1BAD73486391}" type="presParOf" srcId="{393E044A-EC03-4EA6-8A83-F425C4EB90B0}" destId="{3280F800-AE09-485D-9A29-8ED5910378E3}" srcOrd="2" destOrd="0" presId="urn:microsoft.com/office/officeart/2005/8/layout/orgChart1"/>
    <dgm:cxn modelId="{225A0A6D-41B5-485E-8819-266C89867913}" type="presParOf" srcId="{0C33098A-1235-4E7D-8915-AFA963EB0D56}" destId="{B08448DC-351C-4B03-9C3B-2CBC8AADAC90}" srcOrd="6" destOrd="0" presId="urn:microsoft.com/office/officeart/2005/8/layout/orgChart1"/>
    <dgm:cxn modelId="{AE694FF6-CEF5-41A4-BFF0-4D3686B42C53}" type="presParOf" srcId="{0C33098A-1235-4E7D-8915-AFA963EB0D56}" destId="{345CF527-03E6-480C-AB03-66BF200156D1}" srcOrd="7" destOrd="0" presId="urn:microsoft.com/office/officeart/2005/8/layout/orgChart1"/>
    <dgm:cxn modelId="{4ADB368C-4669-4591-9EB9-7351A533DDBD}" type="presParOf" srcId="{345CF527-03E6-480C-AB03-66BF200156D1}" destId="{2D0CD864-AFD9-4856-98B8-D11A5F6F1B6A}" srcOrd="0" destOrd="0" presId="urn:microsoft.com/office/officeart/2005/8/layout/orgChart1"/>
    <dgm:cxn modelId="{AE768CC1-BD73-443C-9663-B63A6672444D}" type="presParOf" srcId="{2D0CD864-AFD9-4856-98B8-D11A5F6F1B6A}" destId="{9FFF4862-2D69-492C-8F56-F0C1D1708546}" srcOrd="0" destOrd="0" presId="urn:microsoft.com/office/officeart/2005/8/layout/orgChart1"/>
    <dgm:cxn modelId="{44A7F24C-8B39-4080-AB95-F4A84637ECFD}" type="presParOf" srcId="{2D0CD864-AFD9-4856-98B8-D11A5F6F1B6A}" destId="{14B9B20F-EEAC-49AC-860E-E9C3552832C2}" srcOrd="1" destOrd="0" presId="urn:microsoft.com/office/officeart/2005/8/layout/orgChart1"/>
    <dgm:cxn modelId="{8F2E4CF5-5F2E-4AD6-A1E8-E6FF4A4F0F65}" type="presParOf" srcId="{345CF527-03E6-480C-AB03-66BF200156D1}" destId="{E08185D8-2463-4EB5-9FA3-747727B27C7E}" srcOrd="1" destOrd="0" presId="urn:microsoft.com/office/officeart/2005/8/layout/orgChart1"/>
    <dgm:cxn modelId="{80A9F96F-6B10-4BA7-A3DC-E4AC41188B0F}" type="presParOf" srcId="{345CF527-03E6-480C-AB03-66BF200156D1}" destId="{81A6082A-4446-41C9-BE1F-89BFF025AE28}" srcOrd="2" destOrd="0" presId="urn:microsoft.com/office/officeart/2005/8/layout/orgChart1"/>
    <dgm:cxn modelId="{ADBBA7DA-AC03-4E98-AA09-A2B6FC2E70F4}" type="presParOf" srcId="{0C33098A-1235-4E7D-8915-AFA963EB0D56}" destId="{F6798CCF-28BC-4A27-B715-F4CC0F797FAF}" srcOrd="8" destOrd="0" presId="urn:microsoft.com/office/officeart/2005/8/layout/orgChart1"/>
    <dgm:cxn modelId="{F534EB4C-8ECD-4382-AC13-88FC065621A0}" type="presParOf" srcId="{0C33098A-1235-4E7D-8915-AFA963EB0D56}" destId="{E3595B41-F1EA-4239-BCE9-B93649BC9892}" srcOrd="9" destOrd="0" presId="urn:microsoft.com/office/officeart/2005/8/layout/orgChart1"/>
    <dgm:cxn modelId="{0CF2408E-1F0F-4E11-B408-92B0B13C2E95}" type="presParOf" srcId="{E3595B41-F1EA-4239-BCE9-B93649BC9892}" destId="{ACDE7B0D-E42F-4C9D-A476-4E8F3BA3D7B4}" srcOrd="0" destOrd="0" presId="urn:microsoft.com/office/officeart/2005/8/layout/orgChart1"/>
    <dgm:cxn modelId="{A641522F-9714-482D-8FC7-8405048BB1ED}" type="presParOf" srcId="{ACDE7B0D-E42F-4C9D-A476-4E8F3BA3D7B4}" destId="{EA703891-59A3-4402-9351-61C8ECB0EE88}" srcOrd="0" destOrd="0" presId="urn:microsoft.com/office/officeart/2005/8/layout/orgChart1"/>
    <dgm:cxn modelId="{BCB252A2-FD60-49A9-92DC-27D34B869C0C}" type="presParOf" srcId="{ACDE7B0D-E42F-4C9D-A476-4E8F3BA3D7B4}" destId="{E63178FE-4D58-419B-A8C9-74DAD9516F21}" srcOrd="1" destOrd="0" presId="urn:microsoft.com/office/officeart/2005/8/layout/orgChart1"/>
    <dgm:cxn modelId="{FB4455EA-0173-4995-B8D9-CFBB3082ECD5}" type="presParOf" srcId="{E3595B41-F1EA-4239-BCE9-B93649BC9892}" destId="{AA92F777-F97B-47D1-8CCD-352019F5C26E}" srcOrd="1" destOrd="0" presId="urn:microsoft.com/office/officeart/2005/8/layout/orgChart1"/>
    <dgm:cxn modelId="{723BB215-E58E-40D7-8140-3FF767D6C4E0}" type="presParOf" srcId="{E3595B41-F1EA-4239-BCE9-B93649BC9892}" destId="{791AE345-F98B-4A18-A042-252ADF423185}" srcOrd="2" destOrd="0" presId="urn:microsoft.com/office/officeart/2005/8/layout/orgChart1"/>
    <dgm:cxn modelId="{10EE50ED-B091-4761-8340-B5F0F607BE5C}" type="presParOf" srcId="{0C33098A-1235-4E7D-8915-AFA963EB0D56}" destId="{1A834F76-1D49-4F9C-9A9B-722FDD68DB58}" srcOrd="10" destOrd="0" presId="urn:microsoft.com/office/officeart/2005/8/layout/orgChart1"/>
    <dgm:cxn modelId="{774C1BB8-E673-4D2B-8283-30AAF2F0B197}" type="presParOf" srcId="{0C33098A-1235-4E7D-8915-AFA963EB0D56}" destId="{D40281E0-08B9-40E5-930C-1028722D88DF}" srcOrd="11" destOrd="0" presId="urn:microsoft.com/office/officeart/2005/8/layout/orgChart1"/>
    <dgm:cxn modelId="{DBB0E071-BDD2-4940-BF82-431BA1146A61}" type="presParOf" srcId="{D40281E0-08B9-40E5-930C-1028722D88DF}" destId="{AA3E8930-311B-4605-B0BD-C8E613CDBA6C}" srcOrd="0" destOrd="0" presId="urn:microsoft.com/office/officeart/2005/8/layout/orgChart1"/>
    <dgm:cxn modelId="{DA037C32-54EF-4604-8716-3D7C6103D0D1}" type="presParOf" srcId="{AA3E8930-311B-4605-B0BD-C8E613CDBA6C}" destId="{AECCE8B3-DA7B-4E76-B030-79E4CD768A70}" srcOrd="0" destOrd="0" presId="urn:microsoft.com/office/officeart/2005/8/layout/orgChart1"/>
    <dgm:cxn modelId="{2963D257-8A10-4475-AC28-B456D3878990}" type="presParOf" srcId="{AA3E8930-311B-4605-B0BD-C8E613CDBA6C}" destId="{8DF8AE0C-89AC-401A-8557-0836A5A82525}" srcOrd="1" destOrd="0" presId="urn:microsoft.com/office/officeart/2005/8/layout/orgChart1"/>
    <dgm:cxn modelId="{A2411021-A0AE-4E42-BD40-57EBBF2B01A1}" type="presParOf" srcId="{D40281E0-08B9-40E5-930C-1028722D88DF}" destId="{3B76DEF5-551C-4C15-AF5D-D594ED0B4EAD}" srcOrd="1" destOrd="0" presId="urn:microsoft.com/office/officeart/2005/8/layout/orgChart1"/>
    <dgm:cxn modelId="{727F6BE1-A0AF-45F1-A2FF-8FBD0A1258AE}" type="presParOf" srcId="{D40281E0-08B9-40E5-930C-1028722D88DF}" destId="{A15BD53F-C98A-463C-9712-61DB06D719C7}" srcOrd="2" destOrd="0" presId="urn:microsoft.com/office/officeart/2005/8/layout/orgChart1"/>
    <dgm:cxn modelId="{64A6B1FE-789E-4BA9-AFBD-F162702D745A}" type="presParOf" srcId="{0C33098A-1235-4E7D-8915-AFA963EB0D56}" destId="{81EC3E32-9936-4258-BA62-6F3125D3B237}" srcOrd="12" destOrd="0" presId="urn:microsoft.com/office/officeart/2005/8/layout/orgChart1"/>
    <dgm:cxn modelId="{4A7BEDE7-9E67-478C-959A-C013C20F566C}" type="presParOf" srcId="{0C33098A-1235-4E7D-8915-AFA963EB0D56}" destId="{494F5940-2A27-42CB-9C8C-5D193B8E3332}" srcOrd="13" destOrd="0" presId="urn:microsoft.com/office/officeart/2005/8/layout/orgChart1"/>
    <dgm:cxn modelId="{7DC899D6-3D72-47AA-BF30-F4E01BD2177A}" type="presParOf" srcId="{494F5940-2A27-42CB-9C8C-5D193B8E3332}" destId="{5F2F2916-F94D-447D-A41A-D30ED22DAF9C}" srcOrd="0" destOrd="0" presId="urn:microsoft.com/office/officeart/2005/8/layout/orgChart1"/>
    <dgm:cxn modelId="{23F029FF-446F-416D-BBF4-3995E74042F7}" type="presParOf" srcId="{5F2F2916-F94D-447D-A41A-D30ED22DAF9C}" destId="{5198AF0E-3D25-4505-8815-4D02133E968A}" srcOrd="0" destOrd="0" presId="urn:microsoft.com/office/officeart/2005/8/layout/orgChart1"/>
    <dgm:cxn modelId="{2E29AB3C-A942-4A12-BB36-A2D5EA584254}" type="presParOf" srcId="{5F2F2916-F94D-447D-A41A-D30ED22DAF9C}" destId="{7D9A8CB1-0CBA-42F7-9C9F-8DF225EEF363}" srcOrd="1" destOrd="0" presId="urn:microsoft.com/office/officeart/2005/8/layout/orgChart1"/>
    <dgm:cxn modelId="{24F71ECC-9EEE-4C28-AF05-2566BA842491}" type="presParOf" srcId="{494F5940-2A27-42CB-9C8C-5D193B8E3332}" destId="{9BDD3803-6DB7-47AF-A5CF-F85FE242E4E4}" srcOrd="1" destOrd="0" presId="urn:microsoft.com/office/officeart/2005/8/layout/orgChart1"/>
    <dgm:cxn modelId="{AF5E4723-3D95-4A66-8CB5-910105383418}" type="presParOf" srcId="{494F5940-2A27-42CB-9C8C-5D193B8E3332}" destId="{C4E4A706-7B07-47D2-B868-05536D1C3EB9}" srcOrd="2" destOrd="0" presId="urn:microsoft.com/office/officeart/2005/8/layout/orgChart1"/>
    <dgm:cxn modelId="{714D47A4-9B17-4C63-8F4C-563F61F9110F}" type="presParOf" srcId="{DFD22D27-3764-4CA2-B096-21DF26393BD4}" destId="{88F4D8B3-9B3B-4B58-985A-898FFA141EE3}" srcOrd="2" destOrd="0" presId="urn:microsoft.com/office/officeart/2005/8/layout/orgChart1"/>
    <dgm:cxn modelId="{B3E98158-F3C6-475A-AC2B-0C79A061B27B}" type="presParOf" srcId="{89DBECB9-24C9-4020-8CF4-9284AF9BDD80}" destId="{782F390F-3643-443C-9DED-152C7AA209BB}" srcOrd="2" destOrd="0" presId="urn:microsoft.com/office/officeart/2005/8/layout/orgChart1"/>
    <dgm:cxn modelId="{C4603AB2-6ED9-484B-B57C-87F7D246E43C}" type="presParOf" srcId="{FAE866CE-561F-4C3A-9064-6F1D0BD6CF34}" destId="{6E82193E-6543-4E49-84CB-9B5D897936A4}" srcOrd="2" destOrd="0" presId="urn:microsoft.com/office/officeart/2005/8/layout/orgChart1"/>
    <dgm:cxn modelId="{CC922A92-B51F-4A6B-8077-0519681D8AEB}" type="presParOf" srcId="{FAE866CE-561F-4C3A-9064-6F1D0BD6CF34}" destId="{CCB2737F-91A8-4B4A-9647-72FFF91EE67B}" srcOrd="3" destOrd="0" presId="urn:microsoft.com/office/officeart/2005/8/layout/orgChart1"/>
    <dgm:cxn modelId="{5720B8A8-9EC4-492D-9D28-EBF4633943C4}" type="presParOf" srcId="{CCB2737F-91A8-4B4A-9647-72FFF91EE67B}" destId="{A32DED1E-AA8C-4443-A8B8-C74028D4C049}" srcOrd="0" destOrd="0" presId="urn:microsoft.com/office/officeart/2005/8/layout/orgChart1"/>
    <dgm:cxn modelId="{AFC68D90-B780-4AEC-AC5D-0AF6A6AB9C89}" type="presParOf" srcId="{A32DED1E-AA8C-4443-A8B8-C74028D4C049}" destId="{BA7F7D44-6199-4026-A414-99CBB0B6525A}" srcOrd="0" destOrd="0" presId="urn:microsoft.com/office/officeart/2005/8/layout/orgChart1"/>
    <dgm:cxn modelId="{A432D6B2-DB95-4FF6-833A-C23B7A9473C5}" type="presParOf" srcId="{A32DED1E-AA8C-4443-A8B8-C74028D4C049}" destId="{CAD708EC-D241-4DCA-A9E7-102D8408B684}" srcOrd="1" destOrd="0" presId="urn:microsoft.com/office/officeart/2005/8/layout/orgChart1"/>
    <dgm:cxn modelId="{3F9AD6B6-CFE2-4548-9626-4F86BA58FC9F}" type="presParOf" srcId="{CCB2737F-91A8-4B4A-9647-72FFF91EE67B}" destId="{0CAB6CC0-8EB8-495E-AA0F-DE90BA34CC65}" srcOrd="1" destOrd="0" presId="urn:microsoft.com/office/officeart/2005/8/layout/orgChart1"/>
    <dgm:cxn modelId="{89C7B2C5-2A99-40A5-884B-CEF9CCC897E1}" type="presParOf" srcId="{0CAB6CC0-8EB8-495E-AA0F-DE90BA34CC65}" destId="{95308955-17D6-43F3-99DD-85B0F457CC6A}" srcOrd="0" destOrd="0" presId="urn:microsoft.com/office/officeart/2005/8/layout/orgChart1"/>
    <dgm:cxn modelId="{586C043D-6F28-4A7A-8FD2-402CA96B15A9}" type="presParOf" srcId="{0CAB6CC0-8EB8-495E-AA0F-DE90BA34CC65}" destId="{BF02387D-9603-48B9-80D4-7CC1B395F388}" srcOrd="1" destOrd="0" presId="urn:microsoft.com/office/officeart/2005/8/layout/orgChart1"/>
    <dgm:cxn modelId="{E56449D5-4213-4E19-B5BB-EC0A56E80593}" type="presParOf" srcId="{BF02387D-9603-48B9-80D4-7CC1B395F388}" destId="{65A0286F-EB29-406D-8CE1-0923D5C32407}" srcOrd="0" destOrd="0" presId="urn:microsoft.com/office/officeart/2005/8/layout/orgChart1"/>
    <dgm:cxn modelId="{AF2FCA9F-467E-499F-91A5-5094E2619E3C}" type="presParOf" srcId="{65A0286F-EB29-406D-8CE1-0923D5C32407}" destId="{E5A21C22-57A1-4FF6-8FF7-2D27BC5935DC}" srcOrd="0" destOrd="0" presId="urn:microsoft.com/office/officeart/2005/8/layout/orgChart1"/>
    <dgm:cxn modelId="{99200173-40BD-433C-B1DC-A98DEE6BCF81}" type="presParOf" srcId="{65A0286F-EB29-406D-8CE1-0923D5C32407}" destId="{79144865-3B4A-444C-AEA8-09D3B2F37F0F}" srcOrd="1" destOrd="0" presId="urn:microsoft.com/office/officeart/2005/8/layout/orgChart1"/>
    <dgm:cxn modelId="{69BDD3E1-A8EF-40A8-9D34-F5D5C5DC9073}" type="presParOf" srcId="{BF02387D-9603-48B9-80D4-7CC1B395F388}" destId="{4C26B355-9DC2-466A-8FC3-2F8AC1F118ED}" srcOrd="1" destOrd="0" presId="urn:microsoft.com/office/officeart/2005/8/layout/orgChart1"/>
    <dgm:cxn modelId="{511EE306-6605-4EEA-BC6D-7AD9470D021E}" type="presParOf" srcId="{BF02387D-9603-48B9-80D4-7CC1B395F388}" destId="{F07CA32F-02CF-426B-B580-0A590166208E}" srcOrd="2" destOrd="0" presId="urn:microsoft.com/office/officeart/2005/8/layout/orgChart1"/>
    <dgm:cxn modelId="{2779030E-5705-4538-835B-7FC864887942}" type="presParOf" srcId="{0CAB6CC0-8EB8-495E-AA0F-DE90BA34CC65}" destId="{26B8BE0C-B6B2-41D8-9DFA-F1DA7BCA117F}" srcOrd="2" destOrd="0" presId="urn:microsoft.com/office/officeart/2005/8/layout/orgChart1"/>
    <dgm:cxn modelId="{C3F41EDD-D26A-47DA-B5D3-531D8B4000FD}" type="presParOf" srcId="{0CAB6CC0-8EB8-495E-AA0F-DE90BA34CC65}" destId="{AB1EF0A5-1D70-43F0-82CC-EF14CE76CFC0}" srcOrd="3" destOrd="0" presId="urn:microsoft.com/office/officeart/2005/8/layout/orgChart1"/>
    <dgm:cxn modelId="{591F3FAE-E313-4C7F-9BE5-C91A693B31ED}" type="presParOf" srcId="{AB1EF0A5-1D70-43F0-82CC-EF14CE76CFC0}" destId="{41F6E431-DC8B-416E-A517-9DD10D1E79A3}" srcOrd="0" destOrd="0" presId="urn:microsoft.com/office/officeart/2005/8/layout/orgChart1"/>
    <dgm:cxn modelId="{5DB14C59-A271-47A5-8D1C-EE865F515958}" type="presParOf" srcId="{41F6E431-DC8B-416E-A517-9DD10D1E79A3}" destId="{E180F611-3F02-473E-B8B3-2F7FCC74AF64}" srcOrd="0" destOrd="0" presId="urn:microsoft.com/office/officeart/2005/8/layout/orgChart1"/>
    <dgm:cxn modelId="{C33B6067-E0B3-4B13-BC35-D731371B34A6}" type="presParOf" srcId="{41F6E431-DC8B-416E-A517-9DD10D1E79A3}" destId="{D8C76C5F-CACD-4BE9-9210-01DA99ABE337}" srcOrd="1" destOrd="0" presId="urn:microsoft.com/office/officeart/2005/8/layout/orgChart1"/>
    <dgm:cxn modelId="{21CE813A-4F6F-4AD7-84D1-CE51F4E82739}" type="presParOf" srcId="{AB1EF0A5-1D70-43F0-82CC-EF14CE76CFC0}" destId="{94DF78DD-6BB2-4482-A3AF-4FDE94ED955D}" srcOrd="1" destOrd="0" presId="urn:microsoft.com/office/officeart/2005/8/layout/orgChart1"/>
    <dgm:cxn modelId="{F51C836C-CAEE-4068-A29F-9C0ED1997AFB}" type="presParOf" srcId="{94DF78DD-6BB2-4482-A3AF-4FDE94ED955D}" destId="{5334F2DE-F338-4A4E-8CF6-77E2FD3A717B}" srcOrd="0" destOrd="0" presId="urn:microsoft.com/office/officeart/2005/8/layout/orgChart1"/>
    <dgm:cxn modelId="{2EFE22DF-300C-4B8E-8537-58602A40DE9F}" type="presParOf" srcId="{94DF78DD-6BB2-4482-A3AF-4FDE94ED955D}" destId="{A9A5D547-0429-4E12-97BC-9BF78EDB3169}" srcOrd="1" destOrd="0" presId="urn:microsoft.com/office/officeart/2005/8/layout/orgChart1"/>
    <dgm:cxn modelId="{8D6DCEFC-7BDC-4554-8294-09061DD6C4A5}" type="presParOf" srcId="{A9A5D547-0429-4E12-97BC-9BF78EDB3169}" destId="{5AC9DEDE-4613-4EF1-B6D6-F51276FC13AE}" srcOrd="0" destOrd="0" presId="urn:microsoft.com/office/officeart/2005/8/layout/orgChart1"/>
    <dgm:cxn modelId="{8B143F29-C169-4A98-8DE8-C389AC98AD18}" type="presParOf" srcId="{5AC9DEDE-4613-4EF1-B6D6-F51276FC13AE}" destId="{72BE5304-752C-4167-B03F-5A6E23A69990}" srcOrd="0" destOrd="0" presId="urn:microsoft.com/office/officeart/2005/8/layout/orgChart1"/>
    <dgm:cxn modelId="{773041F0-AFFF-4E6B-8D35-5938453C6584}" type="presParOf" srcId="{5AC9DEDE-4613-4EF1-B6D6-F51276FC13AE}" destId="{715A2952-F3DA-4A02-ACE8-7C57C9B40431}" srcOrd="1" destOrd="0" presId="urn:microsoft.com/office/officeart/2005/8/layout/orgChart1"/>
    <dgm:cxn modelId="{28FA5087-E67C-44CF-9132-EBC023038002}" type="presParOf" srcId="{A9A5D547-0429-4E12-97BC-9BF78EDB3169}" destId="{13D1BA56-B39D-49BF-BF44-0E6A02BF521B}" srcOrd="1" destOrd="0" presId="urn:microsoft.com/office/officeart/2005/8/layout/orgChart1"/>
    <dgm:cxn modelId="{1592C9BE-85A5-4BFB-A6E6-D62C19744404}" type="presParOf" srcId="{A9A5D547-0429-4E12-97BC-9BF78EDB3169}" destId="{110A4BBE-9AD3-4F88-805A-74C44471A4C4}" srcOrd="2" destOrd="0" presId="urn:microsoft.com/office/officeart/2005/8/layout/orgChart1"/>
    <dgm:cxn modelId="{82F16A95-6866-465E-8B94-7392406DDD66}" type="presParOf" srcId="{94DF78DD-6BB2-4482-A3AF-4FDE94ED955D}" destId="{6C59BE90-8A13-4704-9367-E91AC7A75F0B}" srcOrd="2" destOrd="0" presId="urn:microsoft.com/office/officeart/2005/8/layout/orgChart1"/>
    <dgm:cxn modelId="{EA40359F-76A4-4A79-B348-788B2700218B}" type="presParOf" srcId="{94DF78DD-6BB2-4482-A3AF-4FDE94ED955D}" destId="{0F770B02-F6D0-4D7B-AD59-E4DDAA7BBE25}" srcOrd="3" destOrd="0" presId="urn:microsoft.com/office/officeart/2005/8/layout/orgChart1"/>
    <dgm:cxn modelId="{DA5A0F20-A302-445E-9A50-F49D62309B89}" type="presParOf" srcId="{0F770B02-F6D0-4D7B-AD59-E4DDAA7BBE25}" destId="{785C12E3-7B0C-4835-B07F-FD69D1AC0571}" srcOrd="0" destOrd="0" presId="urn:microsoft.com/office/officeart/2005/8/layout/orgChart1"/>
    <dgm:cxn modelId="{A0071402-30DE-4195-9B53-383382EC8B77}" type="presParOf" srcId="{785C12E3-7B0C-4835-B07F-FD69D1AC0571}" destId="{EF7362E5-E6E8-41B8-BEAF-EEAD6195ADB6}" srcOrd="0" destOrd="0" presId="urn:microsoft.com/office/officeart/2005/8/layout/orgChart1"/>
    <dgm:cxn modelId="{526ED22E-7F23-4440-814F-FFF0A619CD67}" type="presParOf" srcId="{785C12E3-7B0C-4835-B07F-FD69D1AC0571}" destId="{D8FC26CB-72A7-4E2F-A201-F28F11841DA8}" srcOrd="1" destOrd="0" presId="urn:microsoft.com/office/officeart/2005/8/layout/orgChart1"/>
    <dgm:cxn modelId="{4ED6063F-4BA1-4319-825B-C9D48E1380C8}" type="presParOf" srcId="{0F770B02-F6D0-4D7B-AD59-E4DDAA7BBE25}" destId="{668A6F47-67D9-43B5-A34A-5E43C24DFC0F}" srcOrd="1" destOrd="0" presId="urn:microsoft.com/office/officeart/2005/8/layout/orgChart1"/>
    <dgm:cxn modelId="{A5DFD405-FDC1-4567-B6AD-03BEA1138A92}" type="presParOf" srcId="{0F770B02-F6D0-4D7B-AD59-E4DDAA7BBE25}" destId="{2CE67411-D5FF-4332-A41B-0D2F8BDC1639}" srcOrd="2" destOrd="0" presId="urn:microsoft.com/office/officeart/2005/8/layout/orgChart1"/>
    <dgm:cxn modelId="{5D124A63-9FE6-4A0A-8622-F6353E47DCA5}" type="presParOf" srcId="{94DF78DD-6BB2-4482-A3AF-4FDE94ED955D}" destId="{281EE699-AAC5-4334-987D-753B1F4AC9A0}" srcOrd="4" destOrd="0" presId="urn:microsoft.com/office/officeart/2005/8/layout/orgChart1"/>
    <dgm:cxn modelId="{8F7B6515-0283-473A-96B7-919E0F1253CD}" type="presParOf" srcId="{94DF78DD-6BB2-4482-A3AF-4FDE94ED955D}" destId="{95B9E142-D57D-4228-AF03-738B1632E56F}" srcOrd="5" destOrd="0" presId="urn:microsoft.com/office/officeart/2005/8/layout/orgChart1"/>
    <dgm:cxn modelId="{55FEA5B9-7B0A-4706-BBCF-9F5ECA4E285A}" type="presParOf" srcId="{95B9E142-D57D-4228-AF03-738B1632E56F}" destId="{81E6054B-790D-4C44-8FD7-34D4BE71CA27}" srcOrd="0" destOrd="0" presId="urn:microsoft.com/office/officeart/2005/8/layout/orgChart1"/>
    <dgm:cxn modelId="{FBF712B4-8175-4950-BE39-C6C4B2D9F884}" type="presParOf" srcId="{81E6054B-790D-4C44-8FD7-34D4BE71CA27}" destId="{71B521A9-878F-41A1-8364-290A0A9B4615}" srcOrd="0" destOrd="0" presId="urn:microsoft.com/office/officeart/2005/8/layout/orgChart1"/>
    <dgm:cxn modelId="{C0334612-C585-402E-9574-C2DC5DA9FB89}" type="presParOf" srcId="{81E6054B-790D-4C44-8FD7-34D4BE71CA27}" destId="{17B00065-1171-40DE-9B0F-689010D7168B}" srcOrd="1" destOrd="0" presId="urn:microsoft.com/office/officeart/2005/8/layout/orgChart1"/>
    <dgm:cxn modelId="{39F2EF8A-6AFF-4254-BF78-9BEB72007E11}" type="presParOf" srcId="{95B9E142-D57D-4228-AF03-738B1632E56F}" destId="{404F5DF8-41AD-4139-99FE-8574824C2CB3}" srcOrd="1" destOrd="0" presId="urn:microsoft.com/office/officeart/2005/8/layout/orgChart1"/>
    <dgm:cxn modelId="{912B7A17-A8B9-4544-8BE5-F9F492A68CE6}" type="presParOf" srcId="{95B9E142-D57D-4228-AF03-738B1632E56F}" destId="{6470222A-F503-4C23-9548-A2136684682A}" srcOrd="2" destOrd="0" presId="urn:microsoft.com/office/officeart/2005/8/layout/orgChart1"/>
    <dgm:cxn modelId="{F268975E-99D1-48EC-AB57-38E9361BE297}" type="presParOf" srcId="{94DF78DD-6BB2-4482-A3AF-4FDE94ED955D}" destId="{609D9515-FD68-488F-BAB0-2D65B595BA72}" srcOrd="6" destOrd="0" presId="urn:microsoft.com/office/officeart/2005/8/layout/orgChart1"/>
    <dgm:cxn modelId="{0F419EE0-21BB-4C6E-A672-5DCB3E72B034}" type="presParOf" srcId="{94DF78DD-6BB2-4482-A3AF-4FDE94ED955D}" destId="{98C5906E-33D2-46DE-9D4E-97B6C073748D}" srcOrd="7" destOrd="0" presId="urn:microsoft.com/office/officeart/2005/8/layout/orgChart1"/>
    <dgm:cxn modelId="{42444CD1-1F77-4895-97C3-5AC0667A7268}" type="presParOf" srcId="{98C5906E-33D2-46DE-9D4E-97B6C073748D}" destId="{BEA75AD3-7E2F-4F0F-B610-5F51985F5B4D}" srcOrd="0" destOrd="0" presId="urn:microsoft.com/office/officeart/2005/8/layout/orgChart1"/>
    <dgm:cxn modelId="{0B8918D1-F842-4C23-AB28-6E9776176B97}" type="presParOf" srcId="{BEA75AD3-7E2F-4F0F-B610-5F51985F5B4D}" destId="{FB709349-E6D3-41D4-81B7-0F67304A6EFE}" srcOrd="0" destOrd="0" presId="urn:microsoft.com/office/officeart/2005/8/layout/orgChart1"/>
    <dgm:cxn modelId="{276F0678-415D-4E81-820D-75111EAF980D}" type="presParOf" srcId="{BEA75AD3-7E2F-4F0F-B610-5F51985F5B4D}" destId="{790C1FBB-4319-4B98-A874-713788B861D2}" srcOrd="1" destOrd="0" presId="urn:microsoft.com/office/officeart/2005/8/layout/orgChart1"/>
    <dgm:cxn modelId="{629A565A-DD45-47BA-81FA-26E2ADD4B01E}" type="presParOf" srcId="{98C5906E-33D2-46DE-9D4E-97B6C073748D}" destId="{5647D0D9-2DCD-45ED-9A48-FD61173D6EB6}" srcOrd="1" destOrd="0" presId="urn:microsoft.com/office/officeart/2005/8/layout/orgChart1"/>
    <dgm:cxn modelId="{04D53847-911D-4F8B-B178-D729AB298727}" type="presParOf" srcId="{98C5906E-33D2-46DE-9D4E-97B6C073748D}" destId="{12F11F38-F95D-4B7E-BBAA-E023980C9456}" srcOrd="2" destOrd="0" presId="urn:microsoft.com/office/officeart/2005/8/layout/orgChart1"/>
    <dgm:cxn modelId="{5FE05CF3-0F97-45BC-BB79-09F7C1A1D5AC}" type="presParOf" srcId="{94DF78DD-6BB2-4482-A3AF-4FDE94ED955D}" destId="{CB2A7D91-AEA7-4DBA-86ED-7C04CF0853E4}" srcOrd="8" destOrd="0" presId="urn:microsoft.com/office/officeart/2005/8/layout/orgChart1"/>
    <dgm:cxn modelId="{4CDD38A0-02BD-44B1-8782-D1F76B03A31F}" type="presParOf" srcId="{94DF78DD-6BB2-4482-A3AF-4FDE94ED955D}" destId="{194B7055-162D-4894-BCA3-85D7093BB6A5}" srcOrd="9" destOrd="0" presId="urn:microsoft.com/office/officeart/2005/8/layout/orgChart1"/>
    <dgm:cxn modelId="{EC7D4B60-D3C8-47E0-A06E-14FE1EF71DD6}" type="presParOf" srcId="{194B7055-162D-4894-BCA3-85D7093BB6A5}" destId="{F6E77B86-AA89-46C4-B178-D940D581777E}" srcOrd="0" destOrd="0" presId="urn:microsoft.com/office/officeart/2005/8/layout/orgChart1"/>
    <dgm:cxn modelId="{DB7B7240-F5C0-4544-91EF-4F3DAC5A1484}" type="presParOf" srcId="{F6E77B86-AA89-46C4-B178-D940D581777E}" destId="{A588C842-F20A-4AA8-85DA-6ACC4DA2A93E}" srcOrd="0" destOrd="0" presId="urn:microsoft.com/office/officeart/2005/8/layout/orgChart1"/>
    <dgm:cxn modelId="{F43DCFFF-D19C-420C-8407-6202FF6079A8}" type="presParOf" srcId="{F6E77B86-AA89-46C4-B178-D940D581777E}" destId="{FA714205-4B82-446D-B68E-7F652DFBEEDA}" srcOrd="1" destOrd="0" presId="urn:microsoft.com/office/officeart/2005/8/layout/orgChart1"/>
    <dgm:cxn modelId="{205C88B2-6432-4324-A9D5-E63163DD995E}" type="presParOf" srcId="{194B7055-162D-4894-BCA3-85D7093BB6A5}" destId="{254E1AFD-68D8-4CBA-BAAB-6F6D0100BF33}" srcOrd="1" destOrd="0" presId="urn:microsoft.com/office/officeart/2005/8/layout/orgChart1"/>
    <dgm:cxn modelId="{E1714D71-710C-4A11-A7CC-EE68D23CB65B}" type="presParOf" srcId="{194B7055-162D-4894-BCA3-85D7093BB6A5}" destId="{CFC8C733-7AB4-49EB-BB58-6B6F51F07E9E}" srcOrd="2" destOrd="0" presId="urn:microsoft.com/office/officeart/2005/8/layout/orgChart1"/>
    <dgm:cxn modelId="{6EF54379-F5E4-4DF3-8AF1-1FC3F4B2C066}" type="presParOf" srcId="{AB1EF0A5-1D70-43F0-82CC-EF14CE76CFC0}" destId="{B3E393F5-FE99-47D6-B42A-2E679DAAB0C6}" srcOrd="2" destOrd="0" presId="urn:microsoft.com/office/officeart/2005/8/layout/orgChart1"/>
    <dgm:cxn modelId="{307BC056-6051-41E1-A459-5DA3B94DEA64}" type="presParOf" srcId="{0CAB6CC0-8EB8-495E-AA0F-DE90BA34CC65}" destId="{CFA625AD-9497-48AF-9C6C-5957C633070F}" srcOrd="4" destOrd="0" presId="urn:microsoft.com/office/officeart/2005/8/layout/orgChart1"/>
    <dgm:cxn modelId="{0837B1DD-2183-4210-8A0E-034D7C7656A4}" type="presParOf" srcId="{0CAB6CC0-8EB8-495E-AA0F-DE90BA34CC65}" destId="{8C753FFB-9089-4CFE-B9BC-64EB0D9BBF3C}" srcOrd="5" destOrd="0" presId="urn:microsoft.com/office/officeart/2005/8/layout/orgChart1"/>
    <dgm:cxn modelId="{91D731A1-5E8A-4D28-AFEC-B313BA201440}" type="presParOf" srcId="{8C753FFB-9089-4CFE-B9BC-64EB0D9BBF3C}" destId="{F4E836A5-8064-46CB-AF76-DCDACFBED23E}" srcOrd="0" destOrd="0" presId="urn:microsoft.com/office/officeart/2005/8/layout/orgChart1"/>
    <dgm:cxn modelId="{74CCAC19-0063-4D4A-92CB-F56F855CB654}" type="presParOf" srcId="{F4E836A5-8064-46CB-AF76-DCDACFBED23E}" destId="{E46FED4D-3C12-4A9A-8E18-C8A5D62B5747}" srcOrd="0" destOrd="0" presId="urn:microsoft.com/office/officeart/2005/8/layout/orgChart1"/>
    <dgm:cxn modelId="{834839DA-06CE-4188-9F02-11CCB07E716E}" type="presParOf" srcId="{F4E836A5-8064-46CB-AF76-DCDACFBED23E}" destId="{752354B9-535E-4F50-8E38-3DC6C7A96331}" srcOrd="1" destOrd="0" presId="urn:microsoft.com/office/officeart/2005/8/layout/orgChart1"/>
    <dgm:cxn modelId="{66D88422-4E6A-434B-A384-AEE440F5003A}" type="presParOf" srcId="{8C753FFB-9089-4CFE-B9BC-64EB0D9BBF3C}" destId="{9E9C241D-4509-4336-9D87-17E8349BFD3D}" srcOrd="1" destOrd="0" presId="urn:microsoft.com/office/officeart/2005/8/layout/orgChart1"/>
    <dgm:cxn modelId="{2924203C-9469-46AD-9D33-323189BA0C40}" type="presParOf" srcId="{9E9C241D-4509-4336-9D87-17E8349BFD3D}" destId="{7BA5241B-B7BC-41D5-A4B6-BA92111D315F}" srcOrd="0" destOrd="0" presId="urn:microsoft.com/office/officeart/2005/8/layout/orgChart1"/>
    <dgm:cxn modelId="{6EFA08C8-9D7B-4766-9CF2-04D0F8E9418D}" type="presParOf" srcId="{9E9C241D-4509-4336-9D87-17E8349BFD3D}" destId="{F02CA21B-9BF1-4847-B602-7E3033591FB0}" srcOrd="1" destOrd="0" presId="urn:microsoft.com/office/officeart/2005/8/layout/orgChart1"/>
    <dgm:cxn modelId="{8B377AD6-392C-4479-B33E-817FC6B1CC56}" type="presParOf" srcId="{F02CA21B-9BF1-4847-B602-7E3033591FB0}" destId="{610B5BB3-81B4-4650-8FF6-B9772C012216}" srcOrd="0" destOrd="0" presId="urn:microsoft.com/office/officeart/2005/8/layout/orgChart1"/>
    <dgm:cxn modelId="{BDD98A26-76AB-4F0D-930E-1B570798B9C2}" type="presParOf" srcId="{610B5BB3-81B4-4650-8FF6-B9772C012216}" destId="{AFC578FC-B6A9-4C9D-AE35-14F58D2A2F77}" srcOrd="0" destOrd="0" presId="urn:microsoft.com/office/officeart/2005/8/layout/orgChart1"/>
    <dgm:cxn modelId="{87DBB3C3-69F2-4C43-9B46-A23F44C8B742}" type="presParOf" srcId="{610B5BB3-81B4-4650-8FF6-B9772C012216}" destId="{35C3C7FB-1F8E-481E-829E-CA0E11A2D271}" srcOrd="1" destOrd="0" presId="urn:microsoft.com/office/officeart/2005/8/layout/orgChart1"/>
    <dgm:cxn modelId="{AC3E607A-68AD-4894-8427-C819584BA12D}" type="presParOf" srcId="{F02CA21B-9BF1-4847-B602-7E3033591FB0}" destId="{B61ADD01-CAB2-4F58-9E94-92AC852C2E36}" srcOrd="1" destOrd="0" presId="urn:microsoft.com/office/officeart/2005/8/layout/orgChart1"/>
    <dgm:cxn modelId="{BDE3BC15-D3B7-4EEE-BE52-7E04E0B1946E}" type="presParOf" srcId="{F02CA21B-9BF1-4847-B602-7E3033591FB0}" destId="{66BD66DD-91D0-4B6A-9A3F-0FF66E38C459}" srcOrd="2" destOrd="0" presId="urn:microsoft.com/office/officeart/2005/8/layout/orgChart1"/>
    <dgm:cxn modelId="{BD76D39E-E537-40BD-94B1-9106D3D90709}" type="presParOf" srcId="{9E9C241D-4509-4336-9D87-17E8349BFD3D}" destId="{FBFD23C5-1602-4A2F-AD09-F68FE1E1AEEE}" srcOrd="2" destOrd="0" presId="urn:microsoft.com/office/officeart/2005/8/layout/orgChart1"/>
    <dgm:cxn modelId="{DB5DF607-507E-4596-8233-F63A84E60CFA}" type="presParOf" srcId="{9E9C241D-4509-4336-9D87-17E8349BFD3D}" destId="{F07F6452-B2BC-410B-8B64-CD15C5F817A3}" srcOrd="3" destOrd="0" presId="urn:microsoft.com/office/officeart/2005/8/layout/orgChart1"/>
    <dgm:cxn modelId="{D831320E-0700-42D3-A0BA-BCC4D7D61444}" type="presParOf" srcId="{F07F6452-B2BC-410B-8B64-CD15C5F817A3}" destId="{B13BAC62-D2A4-4E47-837E-0012EA7255A2}" srcOrd="0" destOrd="0" presId="urn:microsoft.com/office/officeart/2005/8/layout/orgChart1"/>
    <dgm:cxn modelId="{D3FA874D-74E3-4CEE-931A-D07AA9AE3EAD}" type="presParOf" srcId="{B13BAC62-D2A4-4E47-837E-0012EA7255A2}" destId="{10893535-E133-4731-B500-FBF09351815B}" srcOrd="0" destOrd="0" presId="urn:microsoft.com/office/officeart/2005/8/layout/orgChart1"/>
    <dgm:cxn modelId="{8175EA07-53CC-458B-A581-95D00259ACB9}" type="presParOf" srcId="{B13BAC62-D2A4-4E47-837E-0012EA7255A2}" destId="{02FD715C-0AB6-451C-8869-4951DD781340}" srcOrd="1" destOrd="0" presId="urn:microsoft.com/office/officeart/2005/8/layout/orgChart1"/>
    <dgm:cxn modelId="{40B585F6-5ED8-44EA-AD7A-C1BE7B825915}" type="presParOf" srcId="{F07F6452-B2BC-410B-8B64-CD15C5F817A3}" destId="{29BD2C48-5DD0-4DA0-8A01-DEFBFD05A0DC}" srcOrd="1" destOrd="0" presId="urn:microsoft.com/office/officeart/2005/8/layout/orgChart1"/>
    <dgm:cxn modelId="{CD0BBE85-F6EF-440F-BF70-259840147A6E}" type="presParOf" srcId="{F07F6452-B2BC-410B-8B64-CD15C5F817A3}" destId="{5E1CB73C-B68D-44C0-8942-A3C1E8734B65}" srcOrd="2" destOrd="0" presId="urn:microsoft.com/office/officeart/2005/8/layout/orgChart1"/>
    <dgm:cxn modelId="{6A23E5F6-39DA-44B2-A6FD-331E7B28E6C7}" type="presParOf" srcId="{9E9C241D-4509-4336-9D87-17E8349BFD3D}" destId="{88564183-0CC7-4C92-BE75-FB1FDE2DB88B}" srcOrd="4" destOrd="0" presId="urn:microsoft.com/office/officeart/2005/8/layout/orgChart1"/>
    <dgm:cxn modelId="{1E3F1327-C123-4B92-8830-1437266A85BD}" type="presParOf" srcId="{9E9C241D-4509-4336-9D87-17E8349BFD3D}" destId="{B6322A0D-4E89-45E2-A6BE-BD8E4882D23F}" srcOrd="5" destOrd="0" presId="urn:microsoft.com/office/officeart/2005/8/layout/orgChart1"/>
    <dgm:cxn modelId="{C186290F-0162-40BB-8FA3-C765363D2DE7}" type="presParOf" srcId="{B6322A0D-4E89-45E2-A6BE-BD8E4882D23F}" destId="{12897839-7BAC-4605-9AAA-19E700A97FE0}" srcOrd="0" destOrd="0" presId="urn:microsoft.com/office/officeart/2005/8/layout/orgChart1"/>
    <dgm:cxn modelId="{3F18C1F9-1D5C-47FD-813D-1C9DE8FD7402}" type="presParOf" srcId="{12897839-7BAC-4605-9AAA-19E700A97FE0}" destId="{CD140378-386D-4430-9B29-B12CE2D6642D}" srcOrd="0" destOrd="0" presId="urn:microsoft.com/office/officeart/2005/8/layout/orgChart1"/>
    <dgm:cxn modelId="{182E5AD7-B117-4F3E-B9B7-10E60539ADE9}" type="presParOf" srcId="{12897839-7BAC-4605-9AAA-19E700A97FE0}" destId="{9922B4C0-BC02-4390-A8A7-3FC24BEE6EB1}" srcOrd="1" destOrd="0" presId="urn:microsoft.com/office/officeart/2005/8/layout/orgChart1"/>
    <dgm:cxn modelId="{87EBB698-5DA0-4E96-A5FB-37E21E7047BC}" type="presParOf" srcId="{B6322A0D-4E89-45E2-A6BE-BD8E4882D23F}" destId="{2B626E0D-4038-4F9C-B0CF-E811F620E6A5}" srcOrd="1" destOrd="0" presId="urn:microsoft.com/office/officeart/2005/8/layout/orgChart1"/>
    <dgm:cxn modelId="{FB010A31-61B7-4566-A25F-CDEA95DDD321}" type="presParOf" srcId="{B6322A0D-4E89-45E2-A6BE-BD8E4882D23F}" destId="{B0188713-7CA8-4818-AB97-7C0B2D09FF2D}" srcOrd="2" destOrd="0" presId="urn:microsoft.com/office/officeart/2005/8/layout/orgChart1"/>
    <dgm:cxn modelId="{813E3FE4-1B6E-473D-86D3-8076CA049F5D}" type="presParOf" srcId="{9E9C241D-4509-4336-9D87-17E8349BFD3D}" destId="{61797818-CEEC-4010-8640-642C09CE825D}" srcOrd="6" destOrd="0" presId="urn:microsoft.com/office/officeart/2005/8/layout/orgChart1"/>
    <dgm:cxn modelId="{BFFF13A6-1BEE-4322-A2C6-1241BF06A476}" type="presParOf" srcId="{9E9C241D-4509-4336-9D87-17E8349BFD3D}" destId="{6052B995-86E7-417F-98C4-842F053A3C66}" srcOrd="7" destOrd="0" presId="urn:microsoft.com/office/officeart/2005/8/layout/orgChart1"/>
    <dgm:cxn modelId="{F49E888A-9649-4CA7-8D6B-C26152299746}" type="presParOf" srcId="{6052B995-86E7-417F-98C4-842F053A3C66}" destId="{2542807D-F24E-4088-851A-73705021F92E}" srcOrd="0" destOrd="0" presId="urn:microsoft.com/office/officeart/2005/8/layout/orgChart1"/>
    <dgm:cxn modelId="{E8497467-0627-42B3-9104-5C2A36CBCB24}" type="presParOf" srcId="{2542807D-F24E-4088-851A-73705021F92E}" destId="{4E3B5942-48DC-4E61-A9E8-CBF6E9B1B977}" srcOrd="0" destOrd="0" presId="urn:microsoft.com/office/officeart/2005/8/layout/orgChart1"/>
    <dgm:cxn modelId="{3FA8637B-5D34-49B1-9E86-27488B0E7C7F}" type="presParOf" srcId="{2542807D-F24E-4088-851A-73705021F92E}" destId="{D1C6E5F2-957F-4A86-84F2-A5705BB91D62}" srcOrd="1" destOrd="0" presId="urn:microsoft.com/office/officeart/2005/8/layout/orgChart1"/>
    <dgm:cxn modelId="{36C00132-4622-4873-A1D5-93C5C5E3AFAB}" type="presParOf" srcId="{6052B995-86E7-417F-98C4-842F053A3C66}" destId="{1986724B-73DA-4153-AF4E-21046FE12271}" srcOrd="1" destOrd="0" presId="urn:microsoft.com/office/officeart/2005/8/layout/orgChart1"/>
    <dgm:cxn modelId="{BC90A392-E13C-4649-83D7-F552977CB2F3}" type="presParOf" srcId="{6052B995-86E7-417F-98C4-842F053A3C66}" destId="{E54F4674-BDA0-4A27-9A2F-2327E8FB5042}" srcOrd="2" destOrd="0" presId="urn:microsoft.com/office/officeart/2005/8/layout/orgChart1"/>
    <dgm:cxn modelId="{DBBE2EBE-457E-4433-8AF0-7CD80DE62CB6}" type="presParOf" srcId="{9E9C241D-4509-4336-9D87-17E8349BFD3D}" destId="{E5E98410-234D-44E6-98BF-7874D840463A}" srcOrd="8" destOrd="0" presId="urn:microsoft.com/office/officeart/2005/8/layout/orgChart1"/>
    <dgm:cxn modelId="{90B14255-939E-43A1-A526-1E22B3E70493}" type="presParOf" srcId="{9E9C241D-4509-4336-9D87-17E8349BFD3D}" destId="{72B8C88F-27F8-4D35-A29D-6A25DC1FD0BA}" srcOrd="9" destOrd="0" presId="urn:microsoft.com/office/officeart/2005/8/layout/orgChart1"/>
    <dgm:cxn modelId="{4F9FDD73-F37B-41D3-89DF-57A2BC08CA2E}" type="presParOf" srcId="{72B8C88F-27F8-4D35-A29D-6A25DC1FD0BA}" destId="{0D0ACDCE-850F-479A-A565-85F4BF3BDFF9}" srcOrd="0" destOrd="0" presId="urn:microsoft.com/office/officeart/2005/8/layout/orgChart1"/>
    <dgm:cxn modelId="{A6D75980-35E3-49B7-8CAD-13731B10BA40}" type="presParOf" srcId="{0D0ACDCE-850F-479A-A565-85F4BF3BDFF9}" destId="{1C01B158-6877-41F6-B07E-1C9B8910083F}" srcOrd="0" destOrd="0" presId="urn:microsoft.com/office/officeart/2005/8/layout/orgChart1"/>
    <dgm:cxn modelId="{02B8B173-87D2-4B1C-ACDC-4DD8F3E73278}" type="presParOf" srcId="{0D0ACDCE-850F-479A-A565-85F4BF3BDFF9}" destId="{557C00F6-D5CE-41A2-9D30-B1571F02F3F3}" srcOrd="1" destOrd="0" presId="urn:microsoft.com/office/officeart/2005/8/layout/orgChart1"/>
    <dgm:cxn modelId="{A0578078-76DA-4CD3-AF05-1BDDD3705EDF}" type="presParOf" srcId="{72B8C88F-27F8-4D35-A29D-6A25DC1FD0BA}" destId="{4D237B38-E05F-4F82-9D23-0DC80F257684}" srcOrd="1" destOrd="0" presId="urn:microsoft.com/office/officeart/2005/8/layout/orgChart1"/>
    <dgm:cxn modelId="{435F1D7B-B2A9-4D7A-B9E3-BA411B6B3D23}" type="presParOf" srcId="{72B8C88F-27F8-4D35-A29D-6A25DC1FD0BA}" destId="{B85E4D0E-C449-443B-BDCC-FF6086E043F4}" srcOrd="2" destOrd="0" presId="urn:microsoft.com/office/officeart/2005/8/layout/orgChart1"/>
    <dgm:cxn modelId="{DB15B0A2-1A52-4981-BD19-D6C145E63D1F}" type="presParOf" srcId="{8C753FFB-9089-4CFE-B9BC-64EB0D9BBF3C}" destId="{CE111412-AA04-4C59-B715-95C717FC88B5}" srcOrd="2" destOrd="0" presId="urn:microsoft.com/office/officeart/2005/8/layout/orgChart1"/>
    <dgm:cxn modelId="{F1F78644-EFAB-4367-8B85-1ACF3ACA2D3C}" type="presParOf" srcId="{CCB2737F-91A8-4B4A-9647-72FFF91EE67B}" destId="{FBA31FB0-49C3-486D-B41C-E9FC4CF6FA16}" srcOrd="2" destOrd="0" presId="urn:microsoft.com/office/officeart/2005/8/layout/orgChart1"/>
    <dgm:cxn modelId="{6D1107CF-A100-44AE-8E56-A32D26BC8D7B}" type="presParOf" srcId="{7C736579-9C03-4AE0-BC86-D125DC12861F}" destId="{B24C8AA9-630E-4D93-A342-36690E306F0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6D68FB-70A8-45BA-B78F-9E58FDC420DB}">
      <dsp:nvSpPr>
        <dsp:cNvPr id="0" name=""/>
        <dsp:cNvSpPr/>
      </dsp:nvSpPr>
      <dsp:spPr>
        <a:xfrm>
          <a:off x="4729907" y="397538"/>
          <a:ext cx="91440" cy="361095"/>
        </a:xfrm>
        <a:custGeom>
          <a:avLst/>
          <a:gdLst/>
          <a:ahLst/>
          <a:cxnLst/>
          <a:rect l="0" t="0" r="0" b="0"/>
          <a:pathLst>
            <a:path>
              <a:moveTo>
                <a:pt x="128143" y="0"/>
              </a:moveTo>
              <a:lnTo>
                <a:pt x="128143" y="361095"/>
              </a:lnTo>
              <a:lnTo>
                <a:pt x="45720" y="36109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E98410-234D-44E6-98BF-7874D840463A}">
      <dsp:nvSpPr>
        <dsp:cNvPr id="0" name=""/>
        <dsp:cNvSpPr/>
      </dsp:nvSpPr>
      <dsp:spPr>
        <a:xfrm>
          <a:off x="6918649" y="2069566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797818-CEEC-4010-8640-642C09CE825D}">
      <dsp:nvSpPr>
        <dsp:cNvPr id="0" name=""/>
        <dsp:cNvSpPr/>
      </dsp:nvSpPr>
      <dsp:spPr>
        <a:xfrm>
          <a:off x="6918649" y="2069566"/>
          <a:ext cx="117748" cy="14757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780"/>
              </a:lnTo>
              <a:lnTo>
                <a:pt x="117748" y="14757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564183-0CC7-4C92-BE75-FB1FDE2DB88B}">
      <dsp:nvSpPr>
        <dsp:cNvPr id="0" name=""/>
        <dsp:cNvSpPr/>
      </dsp:nvSpPr>
      <dsp:spPr>
        <a:xfrm>
          <a:off x="6918649" y="2069566"/>
          <a:ext cx="117748" cy="9184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18438"/>
              </a:lnTo>
              <a:lnTo>
                <a:pt x="117748" y="91843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FD23C5-1602-4A2F-AD09-F68FE1E1AEEE}">
      <dsp:nvSpPr>
        <dsp:cNvPr id="0" name=""/>
        <dsp:cNvSpPr/>
      </dsp:nvSpPr>
      <dsp:spPr>
        <a:xfrm>
          <a:off x="6918649" y="2069566"/>
          <a:ext cx="117748" cy="3610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1095"/>
              </a:lnTo>
              <a:lnTo>
                <a:pt x="117748" y="36109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A625AD-9497-48AF-9C6C-5957C633070F}">
      <dsp:nvSpPr>
        <dsp:cNvPr id="0" name=""/>
        <dsp:cNvSpPr/>
      </dsp:nvSpPr>
      <dsp:spPr>
        <a:xfrm>
          <a:off x="6282807" y="1512223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423"/>
              </a:lnTo>
              <a:lnTo>
                <a:pt x="949837" y="82423"/>
              </a:lnTo>
              <a:lnTo>
                <a:pt x="949837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2A7D91-AEA7-4DBA-86ED-7C04CF0853E4}">
      <dsp:nvSpPr>
        <dsp:cNvPr id="0" name=""/>
        <dsp:cNvSpPr/>
      </dsp:nvSpPr>
      <dsp:spPr>
        <a:xfrm>
          <a:off x="5968811" y="2069566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9D9515-FD68-488F-BAB0-2D65B595BA72}">
      <dsp:nvSpPr>
        <dsp:cNvPr id="0" name=""/>
        <dsp:cNvSpPr/>
      </dsp:nvSpPr>
      <dsp:spPr>
        <a:xfrm>
          <a:off x="5968811" y="2069566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1EE699-AAC5-4334-987D-753B1F4AC9A0}">
      <dsp:nvSpPr>
        <dsp:cNvPr id="0" name=""/>
        <dsp:cNvSpPr/>
      </dsp:nvSpPr>
      <dsp:spPr>
        <a:xfrm>
          <a:off x="5968811" y="2069566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59BE90-8A13-4704-9367-E91AC7A75F0B}">
      <dsp:nvSpPr>
        <dsp:cNvPr id="0" name=""/>
        <dsp:cNvSpPr/>
      </dsp:nvSpPr>
      <dsp:spPr>
        <a:xfrm>
          <a:off x="5968811" y="2069566"/>
          <a:ext cx="117748" cy="3325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521"/>
              </a:lnTo>
              <a:lnTo>
                <a:pt x="117748" y="3325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B8BE0C-B6B2-41D8-9DFA-F1DA7BCA117F}">
      <dsp:nvSpPr>
        <dsp:cNvPr id="0" name=""/>
        <dsp:cNvSpPr/>
      </dsp:nvSpPr>
      <dsp:spPr>
        <a:xfrm>
          <a:off x="6237087" y="1512223"/>
          <a:ext cx="91440" cy="1648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308955-17D6-43F3-99DD-85B0F457CC6A}">
      <dsp:nvSpPr>
        <dsp:cNvPr id="0" name=""/>
        <dsp:cNvSpPr/>
      </dsp:nvSpPr>
      <dsp:spPr>
        <a:xfrm>
          <a:off x="5332970" y="1512223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949837" y="0"/>
              </a:moveTo>
              <a:lnTo>
                <a:pt x="949837" y="82423"/>
              </a:lnTo>
              <a:lnTo>
                <a:pt x="0" y="82423"/>
              </a:lnTo>
              <a:lnTo>
                <a:pt x="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82193E-6543-4E49-84CB-9B5D897936A4}">
      <dsp:nvSpPr>
        <dsp:cNvPr id="0" name=""/>
        <dsp:cNvSpPr/>
      </dsp:nvSpPr>
      <dsp:spPr>
        <a:xfrm>
          <a:off x="4858051" y="397538"/>
          <a:ext cx="1424756" cy="7221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9766"/>
              </a:lnTo>
              <a:lnTo>
                <a:pt x="1424756" y="639766"/>
              </a:lnTo>
              <a:lnTo>
                <a:pt x="1424756" y="72219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EC3E32-9936-4258-BA62-6F3125D3B237}">
      <dsp:nvSpPr>
        <dsp:cNvPr id="0" name=""/>
        <dsp:cNvSpPr/>
      </dsp:nvSpPr>
      <dsp:spPr>
        <a:xfrm>
          <a:off x="4069136" y="2069566"/>
          <a:ext cx="117748" cy="3119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19235"/>
              </a:lnTo>
              <a:lnTo>
                <a:pt x="117748" y="311923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834F76-1D49-4F9C-9A9B-722FDD68DB58}">
      <dsp:nvSpPr>
        <dsp:cNvPr id="0" name=""/>
        <dsp:cNvSpPr/>
      </dsp:nvSpPr>
      <dsp:spPr>
        <a:xfrm>
          <a:off x="4069136" y="2069566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798CCF-28BC-4A27-B715-F4CC0F797FAF}">
      <dsp:nvSpPr>
        <dsp:cNvPr id="0" name=""/>
        <dsp:cNvSpPr/>
      </dsp:nvSpPr>
      <dsp:spPr>
        <a:xfrm>
          <a:off x="4069136" y="2069566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8448DC-351C-4B03-9C3B-2CBC8AADAC90}">
      <dsp:nvSpPr>
        <dsp:cNvPr id="0" name=""/>
        <dsp:cNvSpPr/>
      </dsp:nvSpPr>
      <dsp:spPr>
        <a:xfrm>
          <a:off x="4069136" y="2069566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B7D99D-33FC-40B1-B378-A6CD35922869}">
      <dsp:nvSpPr>
        <dsp:cNvPr id="0" name=""/>
        <dsp:cNvSpPr/>
      </dsp:nvSpPr>
      <dsp:spPr>
        <a:xfrm>
          <a:off x="4069136" y="2069566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1D73F8-57E9-457F-8654-686756042FBD}">
      <dsp:nvSpPr>
        <dsp:cNvPr id="0" name=""/>
        <dsp:cNvSpPr/>
      </dsp:nvSpPr>
      <dsp:spPr>
        <a:xfrm>
          <a:off x="4069136" y="2069566"/>
          <a:ext cx="117748" cy="3325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521"/>
              </a:lnTo>
              <a:lnTo>
                <a:pt x="117748" y="3325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FDC392-D7E9-4EFA-91C1-637CE0F3CB14}">
      <dsp:nvSpPr>
        <dsp:cNvPr id="0" name=""/>
        <dsp:cNvSpPr/>
      </dsp:nvSpPr>
      <dsp:spPr>
        <a:xfrm>
          <a:off x="3433294" y="1512223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423"/>
              </a:lnTo>
              <a:lnTo>
                <a:pt x="949837" y="82423"/>
              </a:lnTo>
              <a:lnTo>
                <a:pt x="949837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BDE9EB-5821-4336-A084-BD7690A27F60}">
      <dsp:nvSpPr>
        <dsp:cNvPr id="0" name=""/>
        <dsp:cNvSpPr/>
      </dsp:nvSpPr>
      <dsp:spPr>
        <a:xfrm>
          <a:off x="3119298" y="2069566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C7132E-9C97-4821-9AB9-A1B5D43163E9}">
      <dsp:nvSpPr>
        <dsp:cNvPr id="0" name=""/>
        <dsp:cNvSpPr/>
      </dsp:nvSpPr>
      <dsp:spPr>
        <a:xfrm>
          <a:off x="3119298" y="2069566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3796B0-4E24-4037-A756-23DAC096EEDD}">
      <dsp:nvSpPr>
        <dsp:cNvPr id="0" name=""/>
        <dsp:cNvSpPr/>
      </dsp:nvSpPr>
      <dsp:spPr>
        <a:xfrm>
          <a:off x="3119298" y="2069566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F66D99-B4F5-48C7-93B8-AB3D74072266}">
      <dsp:nvSpPr>
        <dsp:cNvPr id="0" name=""/>
        <dsp:cNvSpPr/>
      </dsp:nvSpPr>
      <dsp:spPr>
        <a:xfrm>
          <a:off x="3119298" y="2069566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27B44E-4915-466B-B832-3FF70F523FEB}">
      <dsp:nvSpPr>
        <dsp:cNvPr id="0" name=""/>
        <dsp:cNvSpPr/>
      </dsp:nvSpPr>
      <dsp:spPr>
        <a:xfrm>
          <a:off x="3119298" y="2069566"/>
          <a:ext cx="117748" cy="3325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521"/>
              </a:lnTo>
              <a:lnTo>
                <a:pt x="117748" y="33252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17481A-8433-4D8A-9D92-8280515D5E7A}">
      <dsp:nvSpPr>
        <dsp:cNvPr id="0" name=""/>
        <dsp:cNvSpPr/>
      </dsp:nvSpPr>
      <dsp:spPr>
        <a:xfrm>
          <a:off x="3387574" y="1512223"/>
          <a:ext cx="91440" cy="1648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71381D-93AB-4757-BC70-85E048680918}">
      <dsp:nvSpPr>
        <dsp:cNvPr id="0" name=""/>
        <dsp:cNvSpPr/>
      </dsp:nvSpPr>
      <dsp:spPr>
        <a:xfrm>
          <a:off x="2483456" y="1512223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949837" y="0"/>
              </a:moveTo>
              <a:lnTo>
                <a:pt x="949837" y="82423"/>
              </a:lnTo>
              <a:lnTo>
                <a:pt x="0" y="82423"/>
              </a:lnTo>
              <a:lnTo>
                <a:pt x="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51C1A7-DE50-4108-9266-6F69CB481F73}">
      <dsp:nvSpPr>
        <dsp:cNvPr id="0" name=""/>
        <dsp:cNvSpPr/>
      </dsp:nvSpPr>
      <dsp:spPr>
        <a:xfrm>
          <a:off x="3433294" y="397538"/>
          <a:ext cx="1424756" cy="722190"/>
        </a:xfrm>
        <a:custGeom>
          <a:avLst/>
          <a:gdLst/>
          <a:ahLst/>
          <a:cxnLst/>
          <a:rect l="0" t="0" r="0" b="0"/>
          <a:pathLst>
            <a:path>
              <a:moveTo>
                <a:pt x="1424756" y="0"/>
              </a:moveTo>
              <a:lnTo>
                <a:pt x="1424756" y="639766"/>
              </a:lnTo>
              <a:lnTo>
                <a:pt x="0" y="639766"/>
              </a:lnTo>
              <a:lnTo>
                <a:pt x="0" y="72219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A1596A-E42E-4974-AF6E-0D3AC01CF41C}">
      <dsp:nvSpPr>
        <dsp:cNvPr id="0" name=""/>
        <dsp:cNvSpPr/>
      </dsp:nvSpPr>
      <dsp:spPr>
        <a:xfrm>
          <a:off x="4465556" y="5043"/>
          <a:ext cx="784989" cy="392494"/>
        </a:xfrm>
        <a:prstGeom prst="rect">
          <a:avLst/>
        </a:prstGeom>
        <a:solidFill>
          <a:srgbClr val="C71F4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uper</a:t>
          </a:r>
        </a:p>
      </dsp:txBody>
      <dsp:txXfrm>
        <a:off x="4465556" y="5043"/>
        <a:ext cx="784989" cy="392494"/>
      </dsp:txXfrm>
    </dsp:sp>
    <dsp:sp modelId="{D39158BC-EC6E-4B40-8CEA-F48343DDDE1E}">
      <dsp:nvSpPr>
        <dsp:cNvPr id="0" name=""/>
        <dsp:cNvSpPr/>
      </dsp:nvSpPr>
      <dsp:spPr>
        <a:xfrm>
          <a:off x="3040799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Production Foreman</a:t>
          </a:r>
        </a:p>
      </dsp:txBody>
      <dsp:txXfrm>
        <a:off x="3040799" y="1119729"/>
        <a:ext cx="784989" cy="392494"/>
      </dsp:txXfrm>
    </dsp:sp>
    <dsp:sp modelId="{DD866608-B532-4C1E-9B13-FA9B1BC79E0F}">
      <dsp:nvSpPr>
        <dsp:cNvPr id="0" name=""/>
        <dsp:cNvSpPr/>
      </dsp:nvSpPr>
      <dsp:spPr>
        <a:xfrm>
          <a:off x="2090961" y="1677071"/>
          <a:ext cx="784989" cy="3924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Admin</a:t>
          </a:r>
        </a:p>
      </dsp:txBody>
      <dsp:txXfrm>
        <a:off x="2090961" y="1677071"/>
        <a:ext cx="784989" cy="392494"/>
      </dsp:txXfrm>
    </dsp:sp>
    <dsp:sp modelId="{57776C70-4867-4A75-BB91-ECE4EAD53C8E}">
      <dsp:nvSpPr>
        <dsp:cNvPr id="0" name=""/>
        <dsp:cNvSpPr/>
      </dsp:nvSpPr>
      <dsp:spPr>
        <a:xfrm>
          <a:off x="3040799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3040799" y="1677071"/>
        <a:ext cx="784989" cy="392494"/>
      </dsp:txXfrm>
    </dsp:sp>
    <dsp:sp modelId="{C79CBE1C-5BCD-423C-9518-DB48B8FD8151}">
      <dsp:nvSpPr>
        <dsp:cNvPr id="0" name=""/>
        <dsp:cNvSpPr/>
      </dsp:nvSpPr>
      <dsp:spPr>
        <a:xfrm>
          <a:off x="3237047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3237047" y="2205840"/>
        <a:ext cx="784989" cy="392494"/>
      </dsp:txXfrm>
    </dsp:sp>
    <dsp:sp modelId="{8EEA6470-AFE7-4291-ACFD-8B7320266F1F}">
      <dsp:nvSpPr>
        <dsp:cNvPr id="0" name=""/>
        <dsp:cNvSpPr/>
      </dsp:nvSpPr>
      <dsp:spPr>
        <a:xfrm>
          <a:off x="3237047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2763183"/>
        <a:ext cx="784989" cy="392494"/>
      </dsp:txXfrm>
    </dsp:sp>
    <dsp:sp modelId="{BDED5FC7-7ECA-4F93-98CF-FB3DDFEDBC40}">
      <dsp:nvSpPr>
        <dsp:cNvPr id="0" name=""/>
        <dsp:cNvSpPr/>
      </dsp:nvSpPr>
      <dsp:spPr>
        <a:xfrm>
          <a:off x="3237047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3320526"/>
        <a:ext cx="784989" cy="392494"/>
      </dsp:txXfrm>
    </dsp:sp>
    <dsp:sp modelId="{D0C06A9D-9519-414B-BFF8-974E13F78F47}">
      <dsp:nvSpPr>
        <dsp:cNvPr id="0" name=""/>
        <dsp:cNvSpPr/>
      </dsp:nvSpPr>
      <dsp:spPr>
        <a:xfrm>
          <a:off x="3237047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3877869"/>
        <a:ext cx="784989" cy="392494"/>
      </dsp:txXfrm>
    </dsp:sp>
    <dsp:sp modelId="{90ACCBF6-8CCD-45FE-A2D6-178440392A5C}">
      <dsp:nvSpPr>
        <dsp:cNvPr id="0" name=""/>
        <dsp:cNvSpPr/>
      </dsp:nvSpPr>
      <dsp:spPr>
        <a:xfrm>
          <a:off x="3237047" y="4435212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4435212"/>
        <a:ext cx="784989" cy="392494"/>
      </dsp:txXfrm>
    </dsp:sp>
    <dsp:sp modelId="{3D20D6D5-CB2A-4FD8-8A02-4CBAE6D30986}">
      <dsp:nvSpPr>
        <dsp:cNvPr id="0" name=""/>
        <dsp:cNvSpPr/>
      </dsp:nvSpPr>
      <dsp:spPr>
        <a:xfrm>
          <a:off x="3990637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3990637" y="1677071"/>
        <a:ext cx="784989" cy="392494"/>
      </dsp:txXfrm>
    </dsp:sp>
    <dsp:sp modelId="{15AF2AF8-D5F0-498F-90EB-7B4704CB01AF}">
      <dsp:nvSpPr>
        <dsp:cNvPr id="0" name=""/>
        <dsp:cNvSpPr/>
      </dsp:nvSpPr>
      <dsp:spPr>
        <a:xfrm>
          <a:off x="4186884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2205840"/>
        <a:ext cx="784989" cy="392494"/>
      </dsp:txXfrm>
    </dsp:sp>
    <dsp:sp modelId="{85ABCF13-624C-447D-8FF5-0CE2E7720E42}">
      <dsp:nvSpPr>
        <dsp:cNvPr id="0" name=""/>
        <dsp:cNvSpPr/>
      </dsp:nvSpPr>
      <dsp:spPr>
        <a:xfrm>
          <a:off x="4186884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2763183"/>
        <a:ext cx="784989" cy="392494"/>
      </dsp:txXfrm>
    </dsp:sp>
    <dsp:sp modelId="{9FFF4862-2D69-492C-8F56-F0C1D1708546}">
      <dsp:nvSpPr>
        <dsp:cNvPr id="0" name=""/>
        <dsp:cNvSpPr/>
      </dsp:nvSpPr>
      <dsp:spPr>
        <a:xfrm>
          <a:off x="4186884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3320526"/>
        <a:ext cx="784989" cy="392494"/>
      </dsp:txXfrm>
    </dsp:sp>
    <dsp:sp modelId="{EA703891-59A3-4402-9351-61C8ECB0EE88}">
      <dsp:nvSpPr>
        <dsp:cNvPr id="0" name=""/>
        <dsp:cNvSpPr/>
      </dsp:nvSpPr>
      <dsp:spPr>
        <a:xfrm>
          <a:off x="4186884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3877869"/>
        <a:ext cx="784989" cy="392494"/>
      </dsp:txXfrm>
    </dsp:sp>
    <dsp:sp modelId="{AECCE8B3-DA7B-4E76-B030-79E4CD768A70}">
      <dsp:nvSpPr>
        <dsp:cNvPr id="0" name=""/>
        <dsp:cNvSpPr/>
      </dsp:nvSpPr>
      <dsp:spPr>
        <a:xfrm>
          <a:off x="4186884" y="4435212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4435212"/>
        <a:ext cx="784989" cy="392494"/>
      </dsp:txXfrm>
    </dsp:sp>
    <dsp:sp modelId="{5198AF0E-3D25-4505-8815-4D02133E968A}">
      <dsp:nvSpPr>
        <dsp:cNvPr id="0" name=""/>
        <dsp:cNvSpPr/>
      </dsp:nvSpPr>
      <dsp:spPr>
        <a:xfrm>
          <a:off x="4186884" y="4992555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4992555"/>
        <a:ext cx="784989" cy="392494"/>
      </dsp:txXfrm>
    </dsp:sp>
    <dsp:sp modelId="{BA7F7D44-6199-4026-A414-99CBB0B6525A}">
      <dsp:nvSpPr>
        <dsp:cNvPr id="0" name=""/>
        <dsp:cNvSpPr/>
      </dsp:nvSpPr>
      <dsp:spPr>
        <a:xfrm>
          <a:off x="5890312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Production Foreman</a:t>
          </a:r>
        </a:p>
      </dsp:txBody>
      <dsp:txXfrm>
        <a:off x="5890312" y="1119729"/>
        <a:ext cx="784989" cy="392494"/>
      </dsp:txXfrm>
    </dsp:sp>
    <dsp:sp modelId="{E5A21C22-57A1-4FF6-8FF7-2D27BC5935DC}">
      <dsp:nvSpPr>
        <dsp:cNvPr id="0" name=""/>
        <dsp:cNvSpPr/>
      </dsp:nvSpPr>
      <dsp:spPr>
        <a:xfrm>
          <a:off x="4940475" y="1677071"/>
          <a:ext cx="784989" cy="3924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Admin</a:t>
          </a:r>
        </a:p>
      </dsp:txBody>
      <dsp:txXfrm>
        <a:off x="4940475" y="1677071"/>
        <a:ext cx="784989" cy="392494"/>
      </dsp:txXfrm>
    </dsp:sp>
    <dsp:sp modelId="{E180F611-3F02-473E-B8B3-2F7FCC74AF64}">
      <dsp:nvSpPr>
        <dsp:cNvPr id="0" name=""/>
        <dsp:cNvSpPr/>
      </dsp:nvSpPr>
      <dsp:spPr>
        <a:xfrm>
          <a:off x="5890312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5890312" y="1677071"/>
        <a:ext cx="784989" cy="392494"/>
      </dsp:txXfrm>
    </dsp:sp>
    <dsp:sp modelId="{EF7362E5-E6E8-41B8-BEAF-EEAD6195ADB6}">
      <dsp:nvSpPr>
        <dsp:cNvPr id="0" name=""/>
        <dsp:cNvSpPr/>
      </dsp:nvSpPr>
      <dsp:spPr>
        <a:xfrm>
          <a:off x="6086560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6086560" y="2205840"/>
        <a:ext cx="784989" cy="392494"/>
      </dsp:txXfrm>
    </dsp:sp>
    <dsp:sp modelId="{71B521A9-878F-41A1-8364-290A0A9B4615}">
      <dsp:nvSpPr>
        <dsp:cNvPr id="0" name=""/>
        <dsp:cNvSpPr/>
      </dsp:nvSpPr>
      <dsp:spPr>
        <a:xfrm>
          <a:off x="6086560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2763183"/>
        <a:ext cx="784989" cy="392494"/>
      </dsp:txXfrm>
    </dsp:sp>
    <dsp:sp modelId="{FB709349-E6D3-41D4-81B7-0F67304A6EFE}">
      <dsp:nvSpPr>
        <dsp:cNvPr id="0" name=""/>
        <dsp:cNvSpPr/>
      </dsp:nvSpPr>
      <dsp:spPr>
        <a:xfrm>
          <a:off x="6086560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3320526"/>
        <a:ext cx="784989" cy="392494"/>
      </dsp:txXfrm>
    </dsp:sp>
    <dsp:sp modelId="{A588C842-F20A-4AA8-85DA-6ACC4DA2A93E}">
      <dsp:nvSpPr>
        <dsp:cNvPr id="0" name=""/>
        <dsp:cNvSpPr/>
      </dsp:nvSpPr>
      <dsp:spPr>
        <a:xfrm>
          <a:off x="6086560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3877869"/>
        <a:ext cx="784989" cy="392494"/>
      </dsp:txXfrm>
    </dsp:sp>
    <dsp:sp modelId="{E46FED4D-3C12-4A9A-8E18-C8A5D62B5747}">
      <dsp:nvSpPr>
        <dsp:cNvPr id="0" name=""/>
        <dsp:cNvSpPr/>
      </dsp:nvSpPr>
      <dsp:spPr>
        <a:xfrm>
          <a:off x="6840150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6840150" y="1677071"/>
        <a:ext cx="784989" cy="392494"/>
      </dsp:txXfrm>
    </dsp:sp>
    <dsp:sp modelId="{10893535-E133-4731-B500-FBF09351815B}">
      <dsp:nvSpPr>
        <dsp:cNvPr id="0" name=""/>
        <dsp:cNvSpPr/>
      </dsp:nvSpPr>
      <dsp:spPr>
        <a:xfrm>
          <a:off x="7036398" y="2234414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7036398" y="2234414"/>
        <a:ext cx="784989" cy="392494"/>
      </dsp:txXfrm>
    </dsp:sp>
    <dsp:sp modelId="{CD140378-386D-4430-9B29-B12CE2D6642D}">
      <dsp:nvSpPr>
        <dsp:cNvPr id="0" name=""/>
        <dsp:cNvSpPr/>
      </dsp:nvSpPr>
      <dsp:spPr>
        <a:xfrm>
          <a:off x="7036398" y="2791757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2791757"/>
        <a:ext cx="784989" cy="392494"/>
      </dsp:txXfrm>
    </dsp:sp>
    <dsp:sp modelId="{4E3B5942-48DC-4E61-A9E8-CBF6E9B1B977}">
      <dsp:nvSpPr>
        <dsp:cNvPr id="0" name=""/>
        <dsp:cNvSpPr/>
      </dsp:nvSpPr>
      <dsp:spPr>
        <a:xfrm>
          <a:off x="7036398" y="334910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3349100"/>
        <a:ext cx="784989" cy="392494"/>
      </dsp:txXfrm>
    </dsp:sp>
    <dsp:sp modelId="{1C01B158-6877-41F6-B07E-1C9B8910083F}">
      <dsp:nvSpPr>
        <dsp:cNvPr id="0" name=""/>
        <dsp:cNvSpPr/>
      </dsp:nvSpPr>
      <dsp:spPr>
        <a:xfrm>
          <a:off x="7036398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3877869"/>
        <a:ext cx="784989" cy="392494"/>
      </dsp:txXfrm>
    </dsp:sp>
    <dsp:sp modelId="{5382A9A8-49AE-4BE7-9E65-440A0FF06898}">
      <dsp:nvSpPr>
        <dsp:cNvPr id="0" name=""/>
        <dsp:cNvSpPr/>
      </dsp:nvSpPr>
      <dsp:spPr>
        <a:xfrm>
          <a:off x="3990637" y="562386"/>
          <a:ext cx="784989" cy="3924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Admin</a:t>
          </a:r>
        </a:p>
      </dsp:txBody>
      <dsp:txXfrm>
        <a:off x="3990637" y="562386"/>
        <a:ext cx="784989" cy="3924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E98410-234D-44E6-98BF-7874D840463A}">
      <dsp:nvSpPr>
        <dsp:cNvPr id="0" name=""/>
        <dsp:cNvSpPr/>
      </dsp:nvSpPr>
      <dsp:spPr>
        <a:xfrm>
          <a:off x="6918649" y="1512223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797818-CEEC-4010-8640-642C09CE825D}">
      <dsp:nvSpPr>
        <dsp:cNvPr id="0" name=""/>
        <dsp:cNvSpPr/>
      </dsp:nvSpPr>
      <dsp:spPr>
        <a:xfrm>
          <a:off x="6918649" y="1512223"/>
          <a:ext cx="117748" cy="20331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33123"/>
              </a:lnTo>
              <a:lnTo>
                <a:pt x="117748" y="203312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564183-0CC7-4C92-BE75-FB1FDE2DB88B}">
      <dsp:nvSpPr>
        <dsp:cNvPr id="0" name=""/>
        <dsp:cNvSpPr/>
      </dsp:nvSpPr>
      <dsp:spPr>
        <a:xfrm>
          <a:off x="6918649" y="1512223"/>
          <a:ext cx="117748" cy="14757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780"/>
              </a:lnTo>
              <a:lnTo>
                <a:pt x="117748" y="14757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FD23C5-1602-4A2F-AD09-F68FE1E1AEEE}">
      <dsp:nvSpPr>
        <dsp:cNvPr id="0" name=""/>
        <dsp:cNvSpPr/>
      </dsp:nvSpPr>
      <dsp:spPr>
        <a:xfrm>
          <a:off x="6918649" y="1512223"/>
          <a:ext cx="117748" cy="9184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18438"/>
              </a:lnTo>
              <a:lnTo>
                <a:pt x="117748" y="91843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A5241B-B7BC-41D5-A4B6-BA92111D315F}">
      <dsp:nvSpPr>
        <dsp:cNvPr id="0" name=""/>
        <dsp:cNvSpPr/>
      </dsp:nvSpPr>
      <dsp:spPr>
        <a:xfrm>
          <a:off x="6918649" y="1512223"/>
          <a:ext cx="117748" cy="3610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1095"/>
              </a:lnTo>
              <a:lnTo>
                <a:pt x="117748" y="36109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A625AD-9497-48AF-9C6C-5957C633070F}">
      <dsp:nvSpPr>
        <dsp:cNvPr id="0" name=""/>
        <dsp:cNvSpPr/>
      </dsp:nvSpPr>
      <dsp:spPr>
        <a:xfrm>
          <a:off x="6282807" y="954881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423"/>
              </a:lnTo>
              <a:lnTo>
                <a:pt x="949837" y="82423"/>
              </a:lnTo>
              <a:lnTo>
                <a:pt x="949837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2A7D91-AEA7-4DBA-86ED-7C04CF0853E4}">
      <dsp:nvSpPr>
        <dsp:cNvPr id="0" name=""/>
        <dsp:cNvSpPr/>
      </dsp:nvSpPr>
      <dsp:spPr>
        <a:xfrm>
          <a:off x="5968811" y="1512223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9D9515-FD68-488F-BAB0-2D65B595BA72}">
      <dsp:nvSpPr>
        <dsp:cNvPr id="0" name=""/>
        <dsp:cNvSpPr/>
      </dsp:nvSpPr>
      <dsp:spPr>
        <a:xfrm>
          <a:off x="5968811" y="1512223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1EE699-AAC5-4334-987D-753B1F4AC9A0}">
      <dsp:nvSpPr>
        <dsp:cNvPr id="0" name=""/>
        <dsp:cNvSpPr/>
      </dsp:nvSpPr>
      <dsp:spPr>
        <a:xfrm>
          <a:off x="5968811" y="1512223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59BE90-8A13-4704-9367-E91AC7A75F0B}">
      <dsp:nvSpPr>
        <dsp:cNvPr id="0" name=""/>
        <dsp:cNvSpPr/>
      </dsp:nvSpPr>
      <dsp:spPr>
        <a:xfrm>
          <a:off x="5968811" y="1512223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34F2DE-F338-4A4E-8CF6-77E2FD3A717B}">
      <dsp:nvSpPr>
        <dsp:cNvPr id="0" name=""/>
        <dsp:cNvSpPr/>
      </dsp:nvSpPr>
      <dsp:spPr>
        <a:xfrm>
          <a:off x="5968811" y="1512223"/>
          <a:ext cx="117748" cy="3610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1095"/>
              </a:lnTo>
              <a:lnTo>
                <a:pt x="117748" y="36109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B8BE0C-B6B2-41D8-9DFA-F1DA7BCA117F}">
      <dsp:nvSpPr>
        <dsp:cNvPr id="0" name=""/>
        <dsp:cNvSpPr/>
      </dsp:nvSpPr>
      <dsp:spPr>
        <a:xfrm>
          <a:off x="6237087" y="954881"/>
          <a:ext cx="91440" cy="1648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308955-17D6-43F3-99DD-85B0F457CC6A}">
      <dsp:nvSpPr>
        <dsp:cNvPr id="0" name=""/>
        <dsp:cNvSpPr/>
      </dsp:nvSpPr>
      <dsp:spPr>
        <a:xfrm>
          <a:off x="5332970" y="954881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949837" y="0"/>
              </a:moveTo>
              <a:lnTo>
                <a:pt x="949837" y="82423"/>
              </a:lnTo>
              <a:lnTo>
                <a:pt x="0" y="82423"/>
              </a:lnTo>
              <a:lnTo>
                <a:pt x="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82193E-6543-4E49-84CB-9B5D897936A4}">
      <dsp:nvSpPr>
        <dsp:cNvPr id="0" name=""/>
        <dsp:cNvSpPr/>
      </dsp:nvSpPr>
      <dsp:spPr>
        <a:xfrm>
          <a:off x="4858051" y="397538"/>
          <a:ext cx="1424756" cy="1648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423"/>
              </a:lnTo>
              <a:lnTo>
                <a:pt x="1424756" y="82423"/>
              </a:lnTo>
              <a:lnTo>
                <a:pt x="1424756" y="1648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EC3E32-9936-4258-BA62-6F3125D3B237}">
      <dsp:nvSpPr>
        <dsp:cNvPr id="0" name=""/>
        <dsp:cNvSpPr/>
      </dsp:nvSpPr>
      <dsp:spPr>
        <a:xfrm>
          <a:off x="4069136" y="1512223"/>
          <a:ext cx="117748" cy="36765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76578"/>
              </a:lnTo>
              <a:lnTo>
                <a:pt x="117748" y="367657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834F76-1D49-4F9C-9A9B-722FDD68DB58}">
      <dsp:nvSpPr>
        <dsp:cNvPr id="0" name=""/>
        <dsp:cNvSpPr/>
      </dsp:nvSpPr>
      <dsp:spPr>
        <a:xfrm>
          <a:off x="4069136" y="1512223"/>
          <a:ext cx="117748" cy="3119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19235"/>
              </a:lnTo>
              <a:lnTo>
                <a:pt x="117748" y="311923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798CCF-28BC-4A27-B715-F4CC0F797FAF}">
      <dsp:nvSpPr>
        <dsp:cNvPr id="0" name=""/>
        <dsp:cNvSpPr/>
      </dsp:nvSpPr>
      <dsp:spPr>
        <a:xfrm>
          <a:off x="4069136" y="1512223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8448DC-351C-4B03-9C3B-2CBC8AADAC90}">
      <dsp:nvSpPr>
        <dsp:cNvPr id="0" name=""/>
        <dsp:cNvSpPr/>
      </dsp:nvSpPr>
      <dsp:spPr>
        <a:xfrm>
          <a:off x="4069136" y="1512223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B7D99D-33FC-40B1-B378-A6CD35922869}">
      <dsp:nvSpPr>
        <dsp:cNvPr id="0" name=""/>
        <dsp:cNvSpPr/>
      </dsp:nvSpPr>
      <dsp:spPr>
        <a:xfrm>
          <a:off x="4069136" y="1512223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1D73F8-57E9-457F-8654-686756042FBD}">
      <dsp:nvSpPr>
        <dsp:cNvPr id="0" name=""/>
        <dsp:cNvSpPr/>
      </dsp:nvSpPr>
      <dsp:spPr>
        <a:xfrm>
          <a:off x="4069136" y="1512223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800CCF-7503-4A00-A283-240AB8218231}">
      <dsp:nvSpPr>
        <dsp:cNvPr id="0" name=""/>
        <dsp:cNvSpPr/>
      </dsp:nvSpPr>
      <dsp:spPr>
        <a:xfrm>
          <a:off x="4069136" y="1512223"/>
          <a:ext cx="117748" cy="3610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1095"/>
              </a:lnTo>
              <a:lnTo>
                <a:pt x="117748" y="36109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FDC392-D7E9-4EFA-91C1-637CE0F3CB14}">
      <dsp:nvSpPr>
        <dsp:cNvPr id="0" name=""/>
        <dsp:cNvSpPr/>
      </dsp:nvSpPr>
      <dsp:spPr>
        <a:xfrm>
          <a:off x="3433294" y="954881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423"/>
              </a:lnTo>
              <a:lnTo>
                <a:pt x="949837" y="82423"/>
              </a:lnTo>
              <a:lnTo>
                <a:pt x="949837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BDE9EB-5821-4336-A084-BD7690A27F60}">
      <dsp:nvSpPr>
        <dsp:cNvPr id="0" name=""/>
        <dsp:cNvSpPr/>
      </dsp:nvSpPr>
      <dsp:spPr>
        <a:xfrm>
          <a:off x="3119298" y="1512223"/>
          <a:ext cx="117748" cy="3119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19235"/>
              </a:lnTo>
              <a:lnTo>
                <a:pt x="117748" y="311923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C7132E-9C97-4821-9AB9-A1B5D43163E9}">
      <dsp:nvSpPr>
        <dsp:cNvPr id="0" name=""/>
        <dsp:cNvSpPr/>
      </dsp:nvSpPr>
      <dsp:spPr>
        <a:xfrm>
          <a:off x="3119298" y="1512223"/>
          <a:ext cx="117748" cy="2561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892"/>
              </a:lnTo>
              <a:lnTo>
                <a:pt x="117748" y="25618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3796B0-4E24-4037-A756-23DAC096EEDD}">
      <dsp:nvSpPr>
        <dsp:cNvPr id="0" name=""/>
        <dsp:cNvSpPr/>
      </dsp:nvSpPr>
      <dsp:spPr>
        <a:xfrm>
          <a:off x="3119298" y="1512223"/>
          <a:ext cx="117748" cy="20045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4550"/>
              </a:lnTo>
              <a:lnTo>
                <a:pt x="117748" y="20045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F66D99-B4F5-48C7-93B8-AB3D74072266}">
      <dsp:nvSpPr>
        <dsp:cNvPr id="0" name=""/>
        <dsp:cNvSpPr/>
      </dsp:nvSpPr>
      <dsp:spPr>
        <a:xfrm>
          <a:off x="3119298" y="1512223"/>
          <a:ext cx="117748" cy="14472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7207"/>
              </a:lnTo>
              <a:lnTo>
                <a:pt x="117748" y="144720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27B44E-4915-466B-B832-3FF70F523FEB}">
      <dsp:nvSpPr>
        <dsp:cNvPr id="0" name=""/>
        <dsp:cNvSpPr/>
      </dsp:nvSpPr>
      <dsp:spPr>
        <a:xfrm>
          <a:off x="3119298" y="1512223"/>
          <a:ext cx="117748" cy="88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9864"/>
              </a:lnTo>
              <a:lnTo>
                <a:pt x="117748" y="8898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911C8F-417C-49C0-AAE0-9CE821F23A53}">
      <dsp:nvSpPr>
        <dsp:cNvPr id="0" name=""/>
        <dsp:cNvSpPr/>
      </dsp:nvSpPr>
      <dsp:spPr>
        <a:xfrm>
          <a:off x="3119298" y="1512223"/>
          <a:ext cx="117748" cy="3610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1095"/>
              </a:lnTo>
              <a:lnTo>
                <a:pt x="117748" y="36109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17481A-8433-4D8A-9D92-8280515D5E7A}">
      <dsp:nvSpPr>
        <dsp:cNvPr id="0" name=""/>
        <dsp:cNvSpPr/>
      </dsp:nvSpPr>
      <dsp:spPr>
        <a:xfrm>
          <a:off x="3387574" y="954881"/>
          <a:ext cx="91440" cy="1648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71381D-93AB-4757-BC70-85E048680918}">
      <dsp:nvSpPr>
        <dsp:cNvPr id="0" name=""/>
        <dsp:cNvSpPr/>
      </dsp:nvSpPr>
      <dsp:spPr>
        <a:xfrm>
          <a:off x="2483456" y="954881"/>
          <a:ext cx="949837" cy="164847"/>
        </a:xfrm>
        <a:custGeom>
          <a:avLst/>
          <a:gdLst/>
          <a:ahLst/>
          <a:cxnLst/>
          <a:rect l="0" t="0" r="0" b="0"/>
          <a:pathLst>
            <a:path>
              <a:moveTo>
                <a:pt x="949837" y="0"/>
              </a:moveTo>
              <a:lnTo>
                <a:pt x="949837" y="82423"/>
              </a:lnTo>
              <a:lnTo>
                <a:pt x="0" y="82423"/>
              </a:lnTo>
              <a:lnTo>
                <a:pt x="0" y="1648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51C1A7-DE50-4108-9266-6F69CB481F73}">
      <dsp:nvSpPr>
        <dsp:cNvPr id="0" name=""/>
        <dsp:cNvSpPr/>
      </dsp:nvSpPr>
      <dsp:spPr>
        <a:xfrm>
          <a:off x="3433294" y="397538"/>
          <a:ext cx="1424756" cy="164847"/>
        </a:xfrm>
        <a:custGeom>
          <a:avLst/>
          <a:gdLst/>
          <a:ahLst/>
          <a:cxnLst/>
          <a:rect l="0" t="0" r="0" b="0"/>
          <a:pathLst>
            <a:path>
              <a:moveTo>
                <a:pt x="1424756" y="0"/>
              </a:moveTo>
              <a:lnTo>
                <a:pt x="1424756" y="82423"/>
              </a:lnTo>
              <a:lnTo>
                <a:pt x="0" y="82423"/>
              </a:lnTo>
              <a:lnTo>
                <a:pt x="0" y="1648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48CB5D-1BF0-40F4-B0E2-608095375244}">
      <dsp:nvSpPr>
        <dsp:cNvPr id="0" name=""/>
        <dsp:cNvSpPr/>
      </dsp:nvSpPr>
      <dsp:spPr>
        <a:xfrm>
          <a:off x="4465556" y="5043"/>
          <a:ext cx="784989" cy="392494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solidFill>
                <a:schemeClr val="bg1"/>
              </a:solidFill>
            </a:rPr>
            <a:t>VP Ops</a:t>
          </a:r>
        </a:p>
      </dsp:txBody>
      <dsp:txXfrm>
        <a:off x="4465556" y="5043"/>
        <a:ext cx="784989" cy="392494"/>
      </dsp:txXfrm>
    </dsp:sp>
    <dsp:sp modelId="{D39158BC-EC6E-4B40-8CEA-F48343DDDE1E}">
      <dsp:nvSpPr>
        <dsp:cNvPr id="0" name=""/>
        <dsp:cNvSpPr/>
      </dsp:nvSpPr>
      <dsp:spPr>
        <a:xfrm>
          <a:off x="3040799" y="562386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uper</a:t>
          </a:r>
        </a:p>
      </dsp:txBody>
      <dsp:txXfrm>
        <a:off x="3040799" y="562386"/>
        <a:ext cx="784989" cy="392494"/>
      </dsp:txXfrm>
    </dsp:sp>
    <dsp:sp modelId="{DD866608-B532-4C1E-9B13-FA9B1BC79E0F}">
      <dsp:nvSpPr>
        <dsp:cNvPr id="0" name=""/>
        <dsp:cNvSpPr/>
      </dsp:nvSpPr>
      <dsp:spPr>
        <a:xfrm>
          <a:off x="2090961" y="1119729"/>
          <a:ext cx="784989" cy="3924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Admin</a:t>
          </a:r>
        </a:p>
      </dsp:txBody>
      <dsp:txXfrm>
        <a:off x="2090961" y="1119729"/>
        <a:ext cx="784989" cy="392494"/>
      </dsp:txXfrm>
    </dsp:sp>
    <dsp:sp modelId="{57776C70-4867-4A75-BB91-ECE4EAD53C8E}">
      <dsp:nvSpPr>
        <dsp:cNvPr id="0" name=""/>
        <dsp:cNvSpPr/>
      </dsp:nvSpPr>
      <dsp:spPr>
        <a:xfrm>
          <a:off x="3040799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oreman</a:t>
          </a:r>
        </a:p>
      </dsp:txBody>
      <dsp:txXfrm>
        <a:off x="3040799" y="1119729"/>
        <a:ext cx="784989" cy="392494"/>
      </dsp:txXfrm>
    </dsp:sp>
    <dsp:sp modelId="{1F4D08F4-B6A1-4643-8643-00E57F1133EA}">
      <dsp:nvSpPr>
        <dsp:cNvPr id="0" name=""/>
        <dsp:cNvSpPr/>
      </dsp:nvSpPr>
      <dsp:spPr>
        <a:xfrm>
          <a:off x="3237047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3237047" y="1677071"/>
        <a:ext cx="784989" cy="392494"/>
      </dsp:txXfrm>
    </dsp:sp>
    <dsp:sp modelId="{C79CBE1C-5BCD-423C-9518-DB48B8FD8151}">
      <dsp:nvSpPr>
        <dsp:cNvPr id="0" name=""/>
        <dsp:cNvSpPr/>
      </dsp:nvSpPr>
      <dsp:spPr>
        <a:xfrm>
          <a:off x="3237047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3237047" y="2205840"/>
        <a:ext cx="784989" cy="392494"/>
      </dsp:txXfrm>
    </dsp:sp>
    <dsp:sp modelId="{8EEA6470-AFE7-4291-ACFD-8B7320266F1F}">
      <dsp:nvSpPr>
        <dsp:cNvPr id="0" name=""/>
        <dsp:cNvSpPr/>
      </dsp:nvSpPr>
      <dsp:spPr>
        <a:xfrm>
          <a:off x="3237047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2763183"/>
        <a:ext cx="784989" cy="392494"/>
      </dsp:txXfrm>
    </dsp:sp>
    <dsp:sp modelId="{BDED5FC7-7ECA-4F93-98CF-FB3DDFEDBC40}">
      <dsp:nvSpPr>
        <dsp:cNvPr id="0" name=""/>
        <dsp:cNvSpPr/>
      </dsp:nvSpPr>
      <dsp:spPr>
        <a:xfrm>
          <a:off x="3237047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3320526"/>
        <a:ext cx="784989" cy="392494"/>
      </dsp:txXfrm>
    </dsp:sp>
    <dsp:sp modelId="{D0C06A9D-9519-414B-BFF8-974E13F78F47}">
      <dsp:nvSpPr>
        <dsp:cNvPr id="0" name=""/>
        <dsp:cNvSpPr/>
      </dsp:nvSpPr>
      <dsp:spPr>
        <a:xfrm>
          <a:off x="3237047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3877869"/>
        <a:ext cx="784989" cy="392494"/>
      </dsp:txXfrm>
    </dsp:sp>
    <dsp:sp modelId="{90ACCBF6-8CCD-45FE-A2D6-178440392A5C}">
      <dsp:nvSpPr>
        <dsp:cNvPr id="0" name=""/>
        <dsp:cNvSpPr/>
      </dsp:nvSpPr>
      <dsp:spPr>
        <a:xfrm>
          <a:off x="3237047" y="4435212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3237047" y="4435212"/>
        <a:ext cx="784989" cy="392494"/>
      </dsp:txXfrm>
    </dsp:sp>
    <dsp:sp modelId="{3D20D6D5-CB2A-4FD8-8A02-4CBAE6D30986}">
      <dsp:nvSpPr>
        <dsp:cNvPr id="0" name=""/>
        <dsp:cNvSpPr/>
      </dsp:nvSpPr>
      <dsp:spPr>
        <a:xfrm>
          <a:off x="3990637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oreman</a:t>
          </a:r>
        </a:p>
      </dsp:txBody>
      <dsp:txXfrm>
        <a:off x="3990637" y="1119729"/>
        <a:ext cx="784989" cy="392494"/>
      </dsp:txXfrm>
    </dsp:sp>
    <dsp:sp modelId="{DD5A3028-6030-45E1-8FF0-3EE5731A4FB0}">
      <dsp:nvSpPr>
        <dsp:cNvPr id="0" name=""/>
        <dsp:cNvSpPr/>
      </dsp:nvSpPr>
      <dsp:spPr>
        <a:xfrm>
          <a:off x="4186884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4186884" y="1677071"/>
        <a:ext cx="784989" cy="392494"/>
      </dsp:txXfrm>
    </dsp:sp>
    <dsp:sp modelId="{15AF2AF8-D5F0-498F-90EB-7B4704CB01AF}">
      <dsp:nvSpPr>
        <dsp:cNvPr id="0" name=""/>
        <dsp:cNvSpPr/>
      </dsp:nvSpPr>
      <dsp:spPr>
        <a:xfrm>
          <a:off x="4186884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2205840"/>
        <a:ext cx="784989" cy="392494"/>
      </dsp:txXfrm>
    </dsp:sp>
    <dsp:sp modelId="{85ABCF13-624C-447D-8FF5-0CE2E7720E42}">
      <dsp:nvSpPr>
        <dsp:cNvPr id="0" name=""/>
        <dsp:cNvSpPr/>
      </dsp:nvSpPr>
      <dsp:spPr>
        <a:xfrm>
          <a:off x="4186884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2763183"/>
        <a:ext cx="784989" cy="392494"/>
      </dsp:txXfrm>
    </dsp:sp>
    <dsp:sp modelId="{9FFF4862-2D69-492C-8F56-F0C1D1708546}">
      <dsp:nvSpPr>
        <dsp:cNvPr id="0" name=""/>
        <dsp:cNvSpPr/>
      </dsp:nvSpPr>
      <dsp:spPr>
        <a:xfrm>
          <a:off x="4186884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3320526"/>
        <a:ext cx="784989" cy="392494"/>
      </dsp:txXfrm>
    </dsp:sp>
    <dsp:sp modelId="{EA703891-59A3-4402-9351-61C8ECB0EE88}">
      <dsp:nvSpPr>
        <dsp:cNvPr id="0" name=""/>
        <dsp:cNvSpPr/>
      </dsp:nvSpPr>
      <dsp:spPr>
        <a:xfrm>
          <a:off x="4186884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4186884" y="3877869"/>
        <a:ext cx="784989" cy="392494"/>
      </dsp:txXfrm>
    </dsp:sp>
    <dsp:sp modelId="{AECCE8B3-DA7B-4E76-B030-79E4CD768A70}">
      <dsp:nvSpPr>
        <dsp:cNvPr id="0" name=""/>
        <dsp:cNvSpPr/>
      </dsp:nvSpPr>
      <dsp:spPr>
        <a:xfrm>
          <a:off x="4186884" y="4435212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4435212"/>
        <a:ext cx="784989" cy="392494"/>
      </dsp:txXfrm>
    </dsp:sp>
    <dsp:sp modelId="{5198AF0E-3D25-4505-8815-4D02133E968A}">
      <dsp:nvSpPr>
        <dsp:cNvPr id="0" name=""/>
        <dsp:cNvSpPr/>
      </dsp:nvSpPr>
      <dsp:spPr>
        <a:xfrm>
          <a:off x="4186884" y="4992555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4186884" y="4992555"/>
        <a:ext cx="784989" cy="392494"/>
      </dsp:txXfrm>
    </dsp:sp>
    <dsp:sp modelId="{BA7F7D44-6199-4026-A414-99CBB0B6525A}">
      <dsp:nvSpPr>
        <dsp:cNvPr id="0" name=""/>
        <dsp:cNvSpPr/>
      </dsp:nvSpPr>
      <dsp:spPr>
        <a:xfrm>
          <a:off x="5890312" y="562386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uper</a:t>
          </a:r>
        </a:p>
      </dsp:txBody>
      <dsp:txXfrm>
        <a:off x="5890312" y="562386"/>
        <a:ext cx="784989" cy="392494"/>
      </dsp:txXfrm>
    </dsp:sp>
    <dsp:sp modelId="{E5A21C22-57A1-4FF6-8FF7-2D27BC5935DC}">
      <dsp:nvSpPr>
        <dsp:cNvPr id="0" name=""/>
        <dsp:cNvSpPr/>
      </dsp:nvSpPr>
      <dsp:spPr>
        <a:xfrm>
          <a:off x="4940475" y="1119729"/>
          <a:ext cx="784989" cy="3924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Admin</a:t>
          </a:r>
        </a:p>
      </dsp:txBody>
      <dsp:txXfrm>
        <a:off x="4940475" y="1119729"/>
        <a:ext cx="784989" cy="392494"/>
      </dsp:txXfrm>
    </dsp:sp>
    <dsp:sp modelId="{E180F611-3F02-473E-B8B3-2F7FCC74AF64}">
      <dsp:nvSpPr>
        <dsp:cNvPr id="0" name=""/>
        <dsp:cNvSpPr/>
      </dsp:nvSpPr>
      <dsp:spPr>
        <a:xfrm>
          <a:off x="5890312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oreman</a:t>
          </a:r>
        </a:p>
      </dsp:txBody>
      <dsp:txXfrm>
        <a:off x="5890312" y="1119729"/>
        <a:ext cx="784989" cy="392494"/>
      </dsp:txXfrm>
    </dsp:sp>
    <dsp:sp modelId="{72BE5304-752C-4167-B03F-5A6E23A69990}">
      <dsp:nvSpPr>
        <dsp:cNvPr id="0" name=""/>
        <dsp:cNvSpPr/>
      </dsp:nvSpPr>
      <dsp:spPr>
        <a:xfrm>
          <a:off x="6086560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6086560" y="1677071"/>
        <a:ext cx="784989" cy="392494"/>
      </dsp:txXfrm>
    </dsp:sp>
    <dsp:sp modelId="{EF7362E5-E6E8-41B8-BEAF-EEAD6195ADB6}">
      <dsp:nvSpPr>
        <dsp:cNvPr id="0" name=""/>
        <dsp:cNvSpPr/>
      </dsp:nvSpPr>
      <dsp:spPr>
        <a:xfrm>
          <a:off x="6086560" y="220584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6086560" y="2205840"/>
        <a:ext cx="784989" cy="392494"/>
      </dsp:txXfrm>
    </dsp:sp>
    <dsp:sp modelId="{71B521A9-878F-41A1-8364-290A0A9B4615}">
      <dsp:nvSpPr>
        <dsp:cNvPr id="0" name=""/>
        <dsp:cNvSpPr/>
      </dsp:nvSpPr>
      <dsp:spPr>
        <a:xfrm>
          <a:off x="6086560" y="2763183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2763183"/>
        <a:ext cx="784989" cy="392494"/>
      </dsp:txXfrm>
    </dsp:sp>
    <dsp:sp modelId="{FB709349-E6D3-41D4-81B7-0F67304A6EFE}">
      <dsp:nvSpPr>
        <dsp:cNvPr id="0" name=""/>
        <dsp:cNvSpPr/>
      </dsp:nvSpPr>
      <dsp:spPr>
        <a:xfrm>
          <a:off x="6086560" y="3320526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3320526"/>
        <a:ext cx="784989" cy="392494"/>
      </dsp:txXfrm>
    </dsp:sp>
    <dsp:sp modelId="{A588C842-F20A-4AA8-85DA-6ACC4DA2A93E}">
      <dsp:nvSpPr>
        <dsp:cNvPr id="0" name=""/>
        <dsp:cNvSpPr/>
      </dsp:nvSpPr>
      <dsp:spPr>
        <a:xfrm>
          <a:off x="6086560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6086560" y="3877869"/>
        <a:ext cx="784989" cy="392494"/>
      </dsp:txXfrm>
    </dsp:sp>
    <dsp:sp modelId="{E46FED4D-3C12-4A9A-8E18-C8A5D62B5747}">
      <dsp:nvSpPr>
        <dsp:cNvPr id="0" name=""/>
        <dsp:cNvSpPr/>
      </dsp:nvSpPr>
      <dsp:spPr>
        <a:xfrm>
          <a:off x="6840150" y="1119729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oreman</a:t>
          </a:r>
        </a:p>
      </dsp:txBody>
      <dsp:txXfrm>
        <a:off x="6840150" y="1119729"/>
        <a:ext cx="784989" cy="392494"/>
      </dsp:txXfrm>
    </dsp:sp>
    <dsp:sp modelId="{AFC578FC-B6A9-4C9D-AE35-14F58D2A2F77}">
      <dsp:nvSpPr>
        <dsp:cNvPr id="0" name=""/>
        <dsp:cNvSpPr/>
      </dsp:nvSpPr>
      <dsp:spPr>
        <a:xfrm>
          <a:off x="7036398" y="1677071"/>
          <a:ext cx="784989" cy="3924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7036398" y="1677071"/>
        <a:ext cx="784989" cy="392494"/>
      </dsp:txXfrm>
    </dsp:sp>
    <dsp:sp modelId="{10893535-E133-4731-B500-FBF09351815B}">
      <dsp:nvSpPr>
        <dsp:cNvPr id="0" name=""/>
        <dsp:cNvSpPr/>
      </dsp:nvSpPr>
      <dsp:spPr>
        <a:xfrm>
          <a:off x="7036398" y="2234414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Lease Operator</a:t>
          </a:r>
          <a:endParaRPr lang="en-US" sz="1000" kern="1200" dirty="0"/>
        </a:p>
      </dsp:txBody>
      <dsp:txXfrm>
        <a:off x="7036398" y="2234414"/>
        <a:ext cx="784989" cy="392494"/>
      </dsp:txXfrm>
    </dsp:sp>
    <dsp:sp modelId="{CD140378-386D-4430-9B29-B12CE2D6642D}">
      <dsp:nvSpPr>
        <dsp:cNvPr id="0" name=""/>
        <dsp:cNvSpPr/>
      </dsp:nvSpPr>
      <dsp:spPr>
        <a:xfrm>
          <a:off x="7036398" y="2791757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2791757"/>
        <a:ext cx="784989" cy="392494"/>
      </dsp:txXfrm>
    </dsp:sp>
    <dsp:sp modelId="{4E3B5942-48DC-4E61-A9E8-CBF6E9B1B977}">
      <dsp:nvSpPr>
        <dsp:cNvPr id="0" name=""/>
        <dsp:cNvSpPr/>
      </dsp:nvSpPr>
      <dsp:spPr>
        <a:xfrm>
          <a:off x="7036398" y="3349100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3349100"/>
        <a:ext cx="784989" cy="392494"/>
      </dsp:txXfrm>
    </dsp:sp>
    <dsp:sp modelId="{1C01B158-6877-41F6-B07E-1C9B8910083F}">
      <dsp:nvSpPr>
        <dsp:cNvPr id="0" name=""/>
        <dsp:cNvSpPr/>
      </dsp:nvSpPr>
      <dsp:spPr>
        <a:xfrm>
          <a:off x="7036398" y="3877869"/>
          <a:ext cx="784989" cy="392494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Operator</a:t>
          </a:r>
        </a:p>
      </dsp:txBody>
      <dsp:txXfrm>
        <a:off x="7036398" y="3877869"/>
        <a:ext cx="784989" cy="3924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908</cdr:x>
      <cdr:y>0.38291</cdr:y>
    </cdr:from>
    <cdr:to>
      <cdr:x>0.89718</cdr:x>
      <cdr:y>0.4288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031B8D8C-E100-41D9-5512-2F1ACC7321F3}"/>
            </a:ext>
          </a:extLst>
        </cdr:cNvPr>
        <cdr:cNvSpPr txBox="1"/>
      </cdr:nvSpPr>
      <cdr:spPr>
        <a:xfrm xmlns:a="http://schemas.openxmlformats.org/drawingml/2006/main">
          <a:off x="5483769" y="2092922"/>
          <a:ext cx="1638300" cy="251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100" dirty="0"/>
            <a:t>$2,066,000 / Month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ABC5249-2C5B-456A-93B4-3EDAE9596B4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CDE716-3EB3-48C2-BA36-F953D035914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9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50EAB6B-3424-4E28-BE87-5928552CEE6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12CEBD-7F54-49E0-AE08-3C8DEFAD55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BFE791-C636-4825-9FAF-60E2743109F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9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808FA80-7387-497F-8178-AB892FFD78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8297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A1AAD4B-81F8-4664-918F-93081628162D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66C9C0A-FD93-40DB-9FE5-55FCE877C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5804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 up of a map&#10;&#10;Description generated with high confidence">
            <a:extLst>
              <a:ext uri="{FF2B5EF4-FFF2-40B4-BE49-F238E27FC236}">
                <a16:creationId xmlns:a16="http://schemas.microsoft.com/office/drawing/2014/main" id="{211C5A8D-8E5F-4123-989E-539FFCFDB9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17AED6-55FC-474C-9327-4BEA2CD462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53840" y="2988553"/>
            <a:ext cx="7467600" cy="1830019"/>
          </a:xfrm>
        </p:spPr>
        <p:txBody>
          <a:bodyPr anchor="b"/>
          <a:lstStyle>
            <a:lvl1pPr algn="l">
              <a:defRPr sz="3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C92BD0-C25C-41D5-81A4-824838D3E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53838" y="5090031"/>
            <a:ext cx="7467601" cy="885046"/>
          </a:xfrm>
        </p:spPr>
        <p:txBody>
          <a:bodyPr/>
          <a:lstStyle>
            <a:lvl1pPr marL="0" indent="0" algn="l">
              <a:buNone/>
              <a:defRPr sz="3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C15ED6-D67F-4BA2-A48F-31D4FCA85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AA128-A2EC-4BB8-B00D-58EC23049D2E}" type="datetime1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CEB6D8-AA47-416B-838E-0E4499E6D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" y="6994667"/>
            <a:ext cx="4114800" cy="23547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A4CE47-9326-4C5C-A6B5-F06AAF951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4800" y="6994667"/>
            <a:ext cx="457200" cy="235472"/>
          </a:xfrm>
        </p:spPr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9315BBA4-9CF9-424B-B032-B926B39630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20" y="491698"/>
            <a:ext cx="3852680" cy="104470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3FEB713-E8BA-4387-B80A-7E291DB51372}"/>
              </a:ext>
            </a:extLst>
          </p:cNvPr>
          <p:cNvCxnSpPr/>
          <p:nvPr/>
        </p:nvCxnSpPr>
        <p:spPr>
          <a:xfrm>
            <a:off x="4053840" y="4937760"/>
            <a:ext cx="813816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A348450-A29D-4D64-A8F7-BD704C210D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4475" y="5975350"/>
            <a:ext cx="7467600" cy="690563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Date here</a:t>
            </a:r>
          </a:p>
        </p:txBody>
      </p:sp>
      <p:pic>
        <p:nvPicPr>
          <p:cNvPr id="7" name="Picture 6" descr="A close up of a map&#10;&#10;Description generated with high confidence">
            <a:extLst>
              <a:ext uri="{FF2B5EF4-FFF2-40B4-BE49-F238E27FC236}">
                <a16:creationId xmlns:a16="http://schemas.microsoft.com/office/drawing/2014/main" id="{160FC4FD-DDB3-2F04-438D-4EA4AA8566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pic>
        <p:nvPicPr>
          <p:cNvPr id="11" name="Picture 10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F095608A-F7B1-C8A8-BAD1-B772CA14B1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20" y="491698"/>
            <a:ext cx="3852680" cy="1044704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28BF216-C17A-E97F-5116-C200EF6B052C}"/>
              </a:ext>
            </a:extLst>
          </p:cNvPr>
          <p:cNvCxnSpPr/>
          <p:nvPr userDrawn="1"/>
        </p:nvCxnSpPr>
        <p:spPr>
          <a:xfrm>
            <a:off x="4053840" y="4937760"/>
            <a:ext cx="813816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014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7F9F5019-A7A9-FB4C-96A0-2FDB553B872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39"/>
            <a:ext cx="2459991" cy="4237693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2459991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16250" y="1862039"/>
            <a:ext cx="8809993" cy="4237691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016250" y="1544165"/>
            <a:ext cx="8809993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245999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3016250" y="1775346"/>
            <a:ext cx="880999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10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7F9F5019-A7A9-FB4C-96A0-2FDB553B872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3374968" cy="191609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846095" y="1862039"/>
            <a:ext cx="7980148" cy="4237691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846095" y="1544165"/>
            <a:ext cx="7980148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3846095" y="1775346"/>
            <a:ext cx="798014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8148A0B-904A-C8CC-99B5-2AFA98BCF06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183648"/>
            <a:ext cx="3374968" cy="191609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8E17A0DB-2382-36A3-031E-04281F024B7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9" y="3865773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6774E7B-249D-0359-4506-7C6B934109AA}"/>
              </a:ext>
            </a:extLst>
          </p:cNvPr>
          <p:cNvCxnSpPr>
            <a:cxnSpLocks/>
          </p:cNvCxnSpPr>
          <p:nvPr userDrawn="1"/>
        </p:nvCxnSpPr>
        <p:spPr>
          <a:xfrm>
            <a:off x="365759" y="4096954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54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97D0FD10-712C-7D59-AEA7-F061C793A7C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8BC5A14-655D-4672-DF74-4500C9A34F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530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0" imgH="380" progId="TCLayout.ActiveDocument.1">
                  <p:embed/>
                </p:oleObj>
              </mc:Choice>
              <mc:Fallback>
                <p:oleObj name="think-cell Slide" r:id="rId4" imgW="380" imgH="38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BC5A14-655D-4672-DF74-4500C9A34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683321"/>
            <a:ext cx="3374968" cy="258037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365447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846095" y="1683321"/>
            <a:ext cx="7980148" cy="2580373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846095" y="1365447"/>
            <a:ext cx="7980148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596628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3846095" y="1596628"/>
            <a:ext cx="798014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8148A0B-904A-C8CC-99B5-2AFA98BCF06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680820"/>
            <a:ext cx="3374968" cy="191609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8E17A0DB-2382-36A3-031E-04281F024B7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9" y="4362945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6774E7B-249D-0359-4506-7C6B934109AA}"/>
              </a:ext>
            </a:extLst>
          </p:cNvPr>
          <p:cNvCxnSpPr>
            <a:cxnSpLocks/>
          </p:cNvCxnSpPr>
          <p:nvPr userDrawn="1"/>
        </p:nvCxnSpPr>
        <p:spPr>
          <a:xfrm>
            <a:off x="365759" y="4594126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A356E6F-9CAC-B4B9-4930-B93285FDDC5A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3846095" y="4669295"/>
            <a:ext cx="7980148" cy="192761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B26DD88-377C-C3D5-5936-5F5AD1644925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3846095" y="4351422"/>
            <a:ext cx="7980148" cy="124772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ED884D-14DA-7AEB-789C-CE1C89240D5B}"/>
              </a:ext>
            </a:extLst>
          </p:cNvPr>
          <p:cNvCxnSpPr>
            <a:cxnSpLocks/>
          </p:cNvCxnSpPr>
          <p:nvPr userDrawn="1"/>
        </p:nvCxnSpPr>
        <p:spPr>
          <a:xfrm>
            <a:off x="3846095" y="4582602"/>
            <a:ext cx="798014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2121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 not remove" hidden="1">
            <a:extLst>
              <a:ext uri="{FF2B5EF4-FFF2-40B4-BE49-F238E27FC236}">
                <a16:creationId xmlns:a16="http://schemas.microsoft.com/office/drawing/2014/main" id="{1AC60217-FF99-510B-634A-49B8D78F78B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125" y="1862039"/>
            <a:ext cx="3834452" cy="4355869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11651138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273785" y="1862039"/>
            <a:ext cx="3834452" cy="4355869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1165113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266CB29-9160-99CF-F996-1236700D7460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182445" y="1862039"/>
            <a:ext cx="3834452" cy="4355869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592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A61B8B4B-8B47-1982-0DF5-D48B66D0A83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5614022" cy="4620822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4620822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7621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B5BC8A9F-0E17-D8BD-4B4C-86B274F107B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51C589-B22B-38A2-5063-965D22FEAF73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346628"/>
            <a:ext cx="11429366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075C7F99-B35D-B91A-55B1-287F691FE6C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365759" y="4028753"/>
            <a:ext cx="11429366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C31EA05-22DB-2214-1C3B-C040D7DDA7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4268566"/>
            <a:ext cx="11429366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592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14D83055-551A-23D5-E6DD-FA84B04F16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234FBD-A6E3-4C4C-B4E0-40C732F8E3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9360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95250-C0DE-4554-B539-756FB2721470}" type="datetime1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0CD16C-F1DF-4750-8B17-BDAAD37708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0250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464200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420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C1C78-1C03-42A8-BE40-52541ED7BF4D}" type="datetime1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308725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454569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46BDEE18-6532-AFFA-F433-C543AA7CB0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75E13-A46C-483F-8D38-F8449850A278}" type="datetime1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8400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7CCCA883-3F5F-422F-843D-4DFA1AD0EB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33352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BA78BA7-5856-43CD-88B8-B7EA2EA52BC3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65759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47506CB5-28F9-488D-8658-CC3D73AEFAB3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33352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584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E3A89-866A-401F-B934-D30BEACA7357}" type="datetime1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3955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D57DA0A-8874-49D1-B525-4A76E0EF60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62152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6DE4A8A-3204-4C00-9B0C-2169D17FD4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759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2600205-93D2-433B-AEF3-68932EFC86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13955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E54DC45-49A6-4057-B56A-2553C58AE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62152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911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B63E391A-E54E-C9EB-70A0-F4C43D7A023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1143000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01783-7B61-4FFD-A6C0-6BFB8F235C39}" type="datetime1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514EDF-4037-444E-85F9-186AD98A2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598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86C9A9C4-F4AD-6D7F-8E3A-C118305CF5C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88D16-8F4C-4CEC-A6BD-36576E12E8BE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85668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E36E1C-E504-4657-966D-8EF98C73A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2E1280-1E1E-4515-B2DB-80ED229F64A7}" type="datetime1">
              <a:rPr lang="en-US" smtClean="0"/>
              <a:t>7/3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3B36C1-E695-46A3-8F1C-1ABA6318C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87FEE9-115C-4E8E-9B57-67CA5A660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899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-no-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E36E1C-E504-4657-966D-8EF98C73A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FB456-A6EB-48C6-A6B7-9536B757FDA5}" type="datetime1">
              <a:rPr lang="en-US" smtClean="0"/>
              <a:t>7/3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3B36C1-E695-46A3-8F1C-1ABA6318C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87FEE9-115C-4E8E-9B57-67CA5A660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59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 up of a map&#10;&#10;Description generated with high confidence">
            <a:extLst>
              <a:ext uri="{FF2B5EF4-FFF2-40B4-BE49-F238E27FC236}">
                <a16:creationId xmlns:a16="http://schemas.microsoft.com/office/drawing/2014/main" id="{211C5A8D-8E5F-4123-989E-539FFCFDB9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17AED6-55FC-474C-9327-4BEA2CD462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53840" y="2988553"/>
            <a:ext cx="7467600" cy="1830019"/>
          </a:xfrm>
        </p:spPr>
        <p:txBody>
          <a:bodyPr anchor="b"/>
          <a:lstStyle>
            <a:lvl1pPr algn="l">
              <a:defRPr sz="3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C92BD0-C25C-41D5-81A4-824838D3E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53838" y="5090031"/>
            <a:ext cx="7467601" cy="885046"/>
          </a:xfrm>
        </p:spPr>
        <p:txBody>
          <a:bodyPr/>
          <a:lstStyle>
            <a:lvl1pPr marL="0" indent="0" algn="l">
              <a:buNone/>
              <a:defRPr sz="3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C15ED6-D67F-4BA2-A48F-31D4FCA85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AA128-A2EC-4BB8-B00D-58EC23049D2E}" type="datetime1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CEB6D8-AA47-416B-838E-0E4499E6D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" y="6994667"/>
            <a:ext cx="4114800" cy="23547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A4CE47-9326-4C5C-A6B5-F06AAF951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4800" y="6994667"/>
            <a:ext cx="457200" cy="235472"/>
          </a:xfrm>
        </p:spPr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9315BBA4-9CF9-424B-B032-B926B39630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20" y="491698"/>
            <a:ext cx="3852680" cy="104470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3FEB713-E8BA-4387-B80A-7E291DB51372}"/>
              </a:ext>
            </a:extLst>
          </p:cNvPr>
          <p:cNvCxnSpPr/>
          <p:nvPr userDrawn="1"/>
        </p:nvCxnSpPr>
        <p:spPr>
          <a:xfrm>
            <a:off x="4053840" y="4937760"/>
            <a:ext cx="813816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A348450-A29D-4D64-A8F7-BD704C210D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4475" y="5975350"/>
            <a:ext cx="7467600" cy="690563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Date here</a:t>
            </a:r>
          </a:p>
        </p:txBody>
      </p:sp>
    </p:spTree>
    <p:extLst>
      <p:ext uri="{BB962C8B-B14F-4D97-AF65-F5344CB8AC3E}">
        <p14:creationId xmlns:p14="http://schemas.microsoft.com/office/powerpoint/2010/main" val="264720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1143000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01783-7B61-4FFD-A6C0-6BFB8F235C39}" type="datetime1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514EDF-4037-444E-85F9-186AD98A2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080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Half-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573024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F335-448D-44BE-9C42-E53D9893F860}" type="datetime1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D9A81DF-AF58-4FE2-944B-B7CA86ED6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156F36-EE8C-4E8B-B560-0BB11ED5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1650" y="1463675"/>
            <a:ext cx="4975225" cy="48450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8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D9BADB-D605-41DA-98C6-7DA2A55FA4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BB9184-BB7D-47D9-9C43-DD07D85D94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93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81F77F-A373-4EEC-A389-188B8DA2E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FA279-8453-4340-8599-963437AB02CD}" type="datetime1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71B9E8-9F7F-49C3-84DF-0077FD439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E4690F-3F53-46FB-9C61-49FF2975A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DFE9646-3F59-4832-AF86-19D1F781D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B79BD40-1CFA-40FD-AF19-8D4B31A891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14541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234FBD-A6E3-4C4C-B4E0-40C732F8E3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9360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95250-C0DE-4554-B539-756FB2721470}" type="datetime1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0CD16C-F1DF-4750-8B17-BDAAD37708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81182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464200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420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C1C78-1C03-42A8-BE40-52541ED7BF4D}" type="datetime1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308725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3493578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75E13-A46C-483F-8D38-F8449850A278}" type="datetime1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8400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7CCCA883-3F5F-422F-843D-4DFA1AD0EB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33352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BA78BA7-5856-43CD-88B8-B7EA2EA52BC3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65759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47506CB5-28F9-488D-8658-CC3D73AEFAB3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33352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044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Half-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573024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F335-448D-44BE-9C42-E53D9893F860}" type="datetime1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D9A81DF-AF58-4FE2-944B-B7CA86ED6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156F36-EE8C-4E8B-B560-0BB11ED5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1650" y="1463675"/>
            <a:ext cx="4975225" cy="48450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787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E3A89-866A-401F-B934-D30BEACA7357}" type="datetime1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3955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D57DA0A-8874-49D1-B525-4A76E0EF60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62152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6DE4A8A-3204-4C00-9B0C-2169D17FD4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759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2600205-93D2-433B-AEF3-68932EFC86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13955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E54DC45-49A6-4057-B56A-2553C58AE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62152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443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88D16-8F4C-4CEC-A6BD-36576E12E8BE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314761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5E89F-C984-5EC9-C88A-F8A37D1B7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71500"/>
            <a:ext cx="11049000" cy="457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EABBFFFC-4A62-D7DA-D186-A68A2AF381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500" y="1158420"/>
            <a:ext cx="11049000" cy="40368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/>
            </a:lvl1pPr>
            <a:lvl2pPr marL="227012" indent="0">
              <a:buNone/>
              <a:defRPr/>
            </a:lvl2pPr>
            <a:lvl3pPr marL="460375" indent="0">
              <a:buNone/>
              <a:defRPr/>
            </a:lvl3pPr>
            <a:lvl4pPr marL="625475" indent="0">
              <a:buNone/>
              <a:defRPr/>
            </a:lvl4pPr>
            <a:lvl5pPr marL="7985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33D797-4FB2-4DE2-244F-66B8D169D1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lalom. All Rights Reserved. Proprietary and Confidential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79A54F-D44C-840B-946D-8F1906CFCA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4779F9C-2379-4946-84FF-DBB76193FE00}" type="datetimeyyyy">
              <a:rPr lang="en-US" smtClean="0"/>
              <a:t>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60216C-BF44-E98D-DA57-6EC6F458EB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643E34-DC33-45ED-8E33-EC0D5991E9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213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o not remove" hidden="1">
            <a:extLst>
              <a:ext uri="{FF2B5EF4-FFF2-40B4-BE49-F238E27FC236}">
                <a16:creationId xmlns:a16="http://schemas.microsoft.com/office/drawing/2014/main" id="{806A6253-A954-F89B-9567-210B46FE09D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map&#10;&#10;Description generated with high confidence">
            <a:extLst>
              <a:ext uri="{FF2B5EF4-FFF2-40B4-BE49-F238E27FC236}">
                <a16:creationId xmlns:a16="http://schemas.microsoft.com/office/drawing/2014/main" id="{85F68518-A27D-418A-B61B-1F6027F18E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1414568-26F0-40F3-86FB-42A9CDC58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2718" y="2213120"/>
            <a:ext cx="4799166" cy="2596791"/>
          </a:xfrm>
        </p:spPr>
        <p:txBody>
          <a:bodyPr anchor="b"/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2C379E-33D6-41D6-8C99-3D49B15552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12718" y="5092845"/>
            <a:ext cx="4799166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5F90C0-F218-4415-A595-A3A41FD061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7ED8D-F234-4A0B-A456-91DAAF18C543}" type="datetime1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A6B923-73FC-429A-B492-9C66B43389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30537C-1231-45AC-A134-4C6382090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FE6E889F-020E-4BE2-85AC-1E42FA36AB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5369" y="549216"/>
            <a:ext cx="2562081" cy="72671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849BF1C-418C-49BC-B438-91594E24846F}"/>
              </a:ext>
            </a:extLst>
          </p:cNvPr>
          <p:cNvCxnSpPr>
            <a:cxnSpLocks/>
          </p:cNvCxnSpPr>
          <p:nvPr/>
        </p:nvCxnSpPr>
        <p:spPr>
          <a:xfrm>
            <a:off x="6096000" y="4937760"/>
            <a:ext cx="609600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close up of a map&#10;&#10;Description generated with high confidence">
            <a:extLst>
              <a:ext uri="{FF2B5EF4-FFF2-40B4-BE49-F238E27FC236}">
                <a16:creationId xmlns:a16="http://schemas.microsoft.com/office/drawing/2014/main" id="{7D9A10C5-F166-332F-C937-334220EF5B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pic>
        <p:nvPicPr>
          <p:cNvPr id="11" name="Picture 10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8ABB818E-FBDD-B4F9-4554-D71FF02371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5369" y="549216"/>
            <a:ext cx="2562081" cy="72671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3A6EAC9-F5AD-1401-20E3-E64E84E67CF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937760"/>
            <a:ext cx="609600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9700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D9BADB-D605-41DA-98C6-7DA2A55FA4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BB9184-BB7D-47D9-9C43-DD07D85D94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93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81F77F-A373-4EEC-A389-188B8DA2E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FA279-8453-4340-8599-963437AB02CD}" type="datetime1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71B9E8-9F7F-49C3-84DF-0077FD439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E4690F-3F53-46FB-9C61-49FF2975A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DFE9646-3F59-4832-AF86-19D1F781D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B79BD40-1CFA-40FD-AF19-8D4B31A891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72541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o not remove" hidden="1">
            <a:extLst>
              <a:ext uri="{FF2B5EF4-FFF2-40B4-BE49-F238E27FC236}">
                <a16:creationId xmlns:a16="http://schemas.microsoft.com/office/drawing/2014/main" id="{B7237C81-55D3-4F0B-776E-D07029F7D27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410448"/>
            <a:ext cx="11429366" cy="144876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D6133D4-61E7-7FEF-88C0-05219B811ABF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8" y="3377226"/>
            <a:ext cx="11429365" cy="266015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8F2ACFE3-363F-8F7F-8FAD-0360C004D17A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8" y="3059352"/>
            <a:ext cx="11429365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1F6DE36-32D9-B32D-8F55-A8D74CE75EB5}"/>
              </a:ext>
            </a:extLst>
          </p:cNvPr>
          <p:cNvCxnSpPr>
            <a:cxnSpLocks/>
          </p:cNvCxnSpPr>
          <p:nvPr userDrawn="1"/>
        </p:nvCxnSpPr>
        <p:spPr>
          <a:xfrm>
            <a:off x="365759" y="3290533"/>
            <a:ext cx="1142936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635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o not remove" hidden="1">
            <a:extLst>
              <a:ext uri="{FF2B5EF4-FFF2-40B4-BE49-F238E27FC236}">
                <a16:creationId xmlns:a16="http://schemas.microsoft.com/office/drawing/2014/main" id="{BFCD7C4E-C48B-1A46-4A75-C4E58E77DC5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D6133D4-61E7-7FEF-88C0-05219B811ABF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316659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8F2ACFE3-363F-8F7F-8FAD-0360C004D17A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9" y="3998784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0245D2AD-439A-96A7-A7BF-3DCE55D5C7BE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6212221" y="4316659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5D4262A-2019-F8DE-5AC8-29B44B3B727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6212221" y="3998784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1F6DE36-32D9-B32D-8F55-A8D74CE75EB5}"/>
              </a:ext>
            </a:extLst>
          </p:cNvPr>
          <p:cNvCxnSpPr>
            <a:cxnSpLocks/>
          </p:cNvCxnSpPr>
          <p:nvPr userDrawn="1"/>
        </p:nvCxnSpPr>
        <p:spPr>
          <a:xfrm>
            <a:off x="365759" y="4229965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0818799-DB84-2AA1-3757-ED36EB66442E}"/>
              </a:ext>
            </a:extLst>
          </p:cNvPr>
          <p:cNvCxnSpPr>
            <a:cxnSpLocks/>
          </p:cNvCxnSpPr>
          <p:nvPr userDrawn="1"/>
        </p:nvCxnSpPr>
        <p:spPr>
          <a:xfrm>
            <a:off x="6212221" y="4229965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522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CC786490-A2E9-677A-1D77-D48F94B4D2A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075C7F99-B35D-B91A-55B1-287F691FE6C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365759" y="1391905"/>
            <a:ext cx="11429366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6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C31EA05-22DB-2214-1C3B-C040D7DDA7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631718"/>
            <a:ext cx="11429366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78E9F64-115A-001C-B76E-39F73EE9B8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713978"/>
            <a:ext cx="11430000" cy="45953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426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7F9F5019-A7A9-FB4C-96A0-2FDB553B872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39"/>
            <a:ext cx="5614022" cy="4237693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0245D2AD-439A-96A7-A7BF-3DCE55D5C7BE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6212221" y="4316659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5D4262A-2019-F8DE-5AC8-29B44B3B727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6212221" y="3998784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0818799-DB84-2AA1-3757-ED36EB66442E}"/>
              </a:ext>
            </a:extLst>
          </p:cNvPr>
          <p:cNvCxnSpPr>
            <a:cxnSpLocks/>
          </p:cNvCxnSpPr>
          <p:nvPr userDrawn="1"/>
        </p:nvCxnSpPr>
        <p:spPr>
          <a:xfrm>
            <a:off x="6212221" y="4229965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110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B2FBFE-803B-4F95-AD0E-BB7AFF7AE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59" y="169127"/>
            <a:ext cx="8961120" cy="6788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10A5EA-7F80-4DFC-9D0E-5D19415977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463040"/>
            <a:ext cx="11430000" cy="48463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86DBCE-2E55-4A04-A645-4BEDFB8901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95" y="7559508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F4EDCB-9599-472D-B8A7-B73B3E6A9F39}" type="datetime1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DB954-90D5-4650-81D4-2BA6D9362A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5759" y="6622528"/>
            <a:ext cx="10881360" cy="2354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4BCA4F-30FD-4295-9AC1-90082ECA3D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622528"/>
            <a:ext cx="457200" cy="2354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5D5A7577-F2C9-4E03-9D98-B419871FF33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6A9ED1-0251-4678-A4A1-00D751522A46}"/>
              </a:ext>
            </a:extLst>
          </p:cNvPr>
          <p:cNvCxnSpPr/>
          <p:nvPr/>
        </p:nvCxnSpPr>
        <p:spPr>
          <a:xfrm>
            <a:off x="11734800" y="6558595"/>
            <a:ext cx="4572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A84078-D18A-4B61-84D4-C5CBCD7ED28E}"/>
              </a:ext>
            </a:extLst>
          </p:cNvPr>
          <p:cNvCxnSpPr/>
          <p:nvPr/>
        </p:nvCxnSpPr>
        <p:spPr>
          <a:xfrm>
            <a:off x="0" y="914426"/>
            <a:ext cx="12187825" cy="0"/>
          </a:xfrm>
          <a:prstGeom prst="line">
            <a:avLst/>
          </a:prstGeom>
          <a:ln w="34925">
            <a:solidFill>
              <a:srgbClr val="C71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46CD3A5D-2A1A-4882-9528-658076A3443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2640" y="192024"/>
            <a:ext cx="2191893" cy="59436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514B1B-AE84-D16C-6A8F-3E361F10E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66759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01" imgH="501" progId="TCLayout.ActiveDocument.1">
                  <p:embed/>
                </p:oleObj>
              </mc:Choice>
              <mc:Fallback>
                <p:oleObj name="think-cell Slide" r:id="rId37" imgW="501" imgH="50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514B1B-AE84-D16C-6A8F-3E361F10E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D73E242-8889-D8A0-BB27-949493F6FB08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04D3818-D3C7-4426-3A1B-A28FCD14AA9A}"/>
              </a:ext>
            </a:extLst>
          </p:cNvPr>
          <p:cNvCxnSpPr/>
          <p:nvPr userDrawn="1"/>
        </p:nvCxnSpPr>
        <p:spPr>
          <a:xfrm>
            <a:off x="11734800" y="6558595"/>
            <a:ext cx="4572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EE52995-D5B3-F1D9-E64D-8AE9636BF181}"/>
              </a:ext>
            </a:extLst>
          </p:cNvPr>
          <p:cNvCxnSpPr/>
          <p:nvPr userDrawn="1"/>
        </p:nvCxnSpPr>
        <p:spPr>
          <a:xfrm>
            <a:off x="0" y="914426"/>
            <a:ext cx="12187825" cy="0"/>
          </a:xfrm>
          <a:prstGeom prst="line">
            <a:avLst/>
          </a:prstGeom>
          <a:ln w="34925">
            <a:solidFill>
              <a:srgbClr val="C71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E92DC790-2975-7A4E-14C1-311BE4AD825B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2640" y="192024"/>
            <a:ext cx="2191893" cy="594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221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83" r:id="rId6"/>
    <p:sldLayoutId id="2147483684" r:id="rId7"/>
    <p:sldLayoutId id="2147483685" r:id="rId8"/>
    <p:sldLayoutId id="2147483687" r:id="rId9"/>
    <p:sldLayoutId id="2147483690" r:id="rId10"/>
    <p:sldLayoutId id="2147483691" r:id="rId11"/>
    <p:sldLayoutId id="2147483693" r:id="rId12"/>
    <p:sldLayoutId id="2147483688" r:id="rId13"/>
    <p:sldLayoutId id="2147483686" r:id="rId14"/>
    <p:sldLayoutId id="2147483689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49" r:id="rId23"/>
    <p:sldLayoutId id="2147483650" r:id="rId24"/>
    <p:sldLayoutId id="2147483667" r:id="rId25"/>
    <p:sldLayoutId id="2147483652" r:id="rId26"/>
    <p:sldLayoutId id="2147483653" r:id="rId27"/>
    <p:sldLayoutId id="2147483664" r:id="rId28"/>
    <p:sldLayoutId id="2147483666" r:id="rId29"/>
    <p:sldLayoutId id="2147483668" r:id="rId30"/>
    <p:sldLayoutId id="2147483654" r:id="rId31"/>
    <p:sldLayoutId id="2147483698" r:id="rId32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9436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7724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package" Target="../embeddings/Microsoft_Excel_Worksheet.xlsx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6FF2FE5-C9EF-86BD-B5F9-8DDC17B482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/>
              <a:t>Maverick Advanced Technologies Implementation Council (MATIC)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DE1CA4-DC72-060A-96E7-48F91F170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32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D8C6A-CBC8-40A8-BB5D-EC9A4110E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582825-6244-CF00-0AB7-040F94BB1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 Level Resource Alloc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602B0C-3844-7E20-0308-E9DB4FFDB4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4116" y="1504951"/>
            <a:ext cx="6419284" cy="421005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29D805F-EAFD-0C21-7A1C-1F81D1D75F01}"/>
              </a:ext>
            </a:extLst>
          </p:cNvPr>
          <p:cNvSpPr/>
          <p:nvPr/>
        </p:nvSpPr>
        <p:spPr>
          <a:xfrm rot="2227209">
            <a:off x="7314267" y="3872219"/>
            <a:ext cx="2624889" cy="962025"/>
          </a:xfrm>
          <a:prstGeom prst="roundRect">
            <a:avLst/>
          </a:prstGeom>
          <a:noFill/>
          <a:ln w="57150">
            <a:solidFill>
              <a:srgbClr val="C71F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CEC5D4D-DD94-E145-1A46-B8D502045ED3}"/>
              </a:ext>
            </a:extLst>
          </p:cNvPr>
          <p:cNvSpPr/>
          <p:nvPr/>
        </p:nvSpPr>
        <p:spPr>
          <a:xfrm rot="2227209">
            <a:off x="8090891" y="2304553"/>
            <a:ext cx="2216218" cy="1493064"/>
          </a:xfrm>
          <a:prstGeom prst="roundRect">
            <a:avLst/>
          </a:prstGeom>
          <a:noFill/>
          <a:ln w="57150">
            <a:solidFill>
              <a:srgbClr val="C71F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39A6FA-408B-B5BB-1D9F-8A5F8AF9A8AD}"/>
              </a:ext>
            </a:extLst>
          </p:cNvPr>
          <p:cNvSpPr txBox="1"/>
          <p:nvPr/>
        </p:nvSpPr>
        <p:spPr>
          <a:xfrm>
            <a:off x="461009" y="1209319"/>
            <a:ext cx="5006341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re is a discrepancy between Workload, Value and Area Boundar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Dynamic Routes have been fully tested within Area Boundaries. But results are sub-optimal field wid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First Pass – Have multiple scenarios for each Area (+1 Resource, - 1 Resource) Provide Health Status by Area and encourage Foreman to identify opportunities to shift resources from area to are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econd Pass – Create Dynamic Routes using Consolidated Area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NC, SW, S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SE, 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N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Final Pass – BU Level Dynamic Rout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014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3CAD18-30B2-7487-DFFC-075113EC3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4218FF-B6D4-906E-9B3D-C9F3CB508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Levers to Optimize Margi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2AAC69-3FEE-2C97-F2F2-3F2E99E59095}"/>
              </a:ext>
            </a:extLst>
          </p:cNvPr>
          <p:cNvSpPr txBox="1"/>
          <p:nvPr/>
        </p:nvSpPr>
        <p:spPr>
          <a:xfrm>
            <a:off x="411685" y="1052560"/>
            <a:ext cx="543135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oute Optimiz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Through Area Level Route Optimization, </a:t>
            </a:r>
            <a:r>
              <a:rPr lang="en-US" sz="1600" b="1" dirty="0"/>
              <a:t>8 Routes can be Eliminated </a:t>
            </a:r>
          </a:p>
          <a:p>
            <a:pPr lvl="1"/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rea Consolid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onsolidate to 2 Areas 6 Areas -&gt; 2 Area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Additional </a:t>
            </a:r>
            <a:r>
              <a:rPr lang="en-US" sz="1600" b="1" dirty="0"/>
              <a:t>5 Routes Eliminated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arget 100% Completion of Critical &amp; High + 40% Completion of Medium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C857CA-A778-BED6-F285-DE9E62F09D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3349" y="1050340"/>
            <a:ext cx="4185810" cy="2745239"/>
          </a:xfrm>
          <a:prstGeom prst="rect">
            <a:avLst/>
          </a:prstGeom>
          <a:ln w="57150">
            <a:solidFill>
              <a:srgbClr val="C71F41"/>
            </a:solidFill>
          </a:ln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D4D9E0A-7343-7B83-C1E2-D277AE7B002F}"/>
              </a:ext>
            </a:extLst>
          </p:cNvPr>
          <p:cNvCxnSpPr>
            <a:cxnSpLocks/>
          </p:cNvCxnSpPr>
          <p:nvPr/>
        </p:nvCxnSpPr>
        <p:spPr>
          <a:xfrm flipV="1">
            <a:off x="8756254" y="1170003"/>
            <a:ext cx="0" cy="1083075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D48F3B0-0A5A-B2DE-791D-B2C475F80E60}"/>
              </a:ext>
            </a:extLst>
          </p:cNvPr>
          <p:cNvCxnSpPr>
            <a:cxnSpLocks/>
          </p:cNvCxnSpPr>
          <p:nvPr/>
        </p:nvCxnSpPr>
        <p:spPr>
          <a:xfrm flipH="1" flipV="1">
            <a:off x="9336404" y="1170002"/>
            <a:ext cx="465191" cy="61256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50F78E2-F0B9-D11A-07DE-262CC80BAF93}"/>
              </a:ext>
            </a:extLst>
          </p:cNvPr>
          <p:cNvCxnSpPr>
            <a:cxnSpLocks/>
            <a:stCxn id="54" idx="3"/>
          </p:cNvCxnSpPr>
          <p:nvPr/>
        </p:nvCxnSpPr>
        <p:spPr>
          <a:xfrm flipH="1" flipV="1">
            <a:off x="9801595" y="1773736"/>
            <a:ext cx="839866" cy="1375864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8B53950-C34B-A307-691A-528E1C165C2A}"/>
              </a:ext>
            </a:extLst>
          </p:cNvPr>
          <p:cNvCxnSpPr>
            <a:cxnSpLocks/>
          </p:cNvCxnSpPr>
          <p:nvPr/>
        </p:nvCxnSpPr>
        <p:spPr>
          <a:xfrm flipH="1">
            <a:off x="8908050" y="3566840"/>
            <a:ext cx="1497226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FC42D5-EDD3-397C-C405-D896B6E97CA2}"/>
              </a:ext>
            </a:extLst>
          </p:cNvPr>
          <p:cNvCxnSpPr>
            <a:cxnSpLocks/>
          </p:cNvCxnSpPr>
          <p:nvPr/>
        </p:nvCxnSpPr>
        <p:spPr>
          <a:xfrm>
            <a:off x="8641057" y="2289793"/>
            <a:ext cx="0" cy="221968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7E36663-D4E0-ED2B-900B-F022D7F42EAE}"/>
              </a:ext>
            </a:extLst>
          </p:cNvPr>
          <p:cNvCxnSpPr>
            <a:cxnSpLocks/>
          </p:cNvCxnSpPr>
          <p:nvPr/>
        </p:nvCxnSpPr>
        <p:spPr>
          <a:xfrm flipH="1">
            <a:off x="8625182" y="2237512"/>
            <a:ext cx="131072" cy="77063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0CB3869-095B-1CCE-7A13-FC5BCBF93745}"/>
              </a:ext>
            </a:extLst>
          </p:cNvPr>
          <p:cNvCxnSpPr>
            <a:cxnSpLocks/>
          </p:cNvCxnSpPr>
          <p:nvPr/>
        </p:nvCxnSpPr>
        <p:spPr>
          <a:xfrm>
            <a:off x="8756254" y="2475046"/>
            <a:ext cx="0" cy="390592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FEFCD40-2AAB-7729-6E78-8CFE70DCBDED}"/>
              </a:ext>
            </a:extLst>
          </p:cNvPr>
          <p:cNvCxnSpPr>
            <a:cxnSpLocks/>
          </p:cNvCxnSpPr>
          <p:nvPr/>
        </p:nvCxnSpPr>
        <p:spPr>
          <a:xfrm>
            <a:off x="8908050" y="3035300"/>
            <a:ext cx="0" cy="557048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F5F93C1-0157-9E3D-DE2A-7877B06E633F}"/>
              </a:ext>
            </a:extLst>
          </p:cNvPr>
          <p:cNvCxnSpPr>
            <a:cxnSpLocks/>
          </p:cNvCxnSpPr>
          <p:nvPr/>
        </p:nvCxnSpPr>
        <p:spPr>
          <a:xfrm>
            <a:off x="8625182" y="2481396"/>
            <a:ext cx="160043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8D91E75-8AF1-8AC2-FC92-D196FD4004B1}"/>
              </a:ext>
            </a:extLst>
          </p:cNvPr>
          <p:cNvCxnSpPr>
            <a:cxnSpLocks/>
          </p:cNvCxnSpPr>
          <p:nvPr/>
        </p:nvCxnSpPr>
        <p:spPr>
          <a:xfrm>
            <a:off x="8813800" y="3035300"/>
            <a:ext cx="124738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D32B6B7-AA87-C2E6-9AF0-A3D2F554E146}"/>
              </a:ext>
            </a:extLst>
          </p:cNvPr>
          <p:cNvCxnSpPr>
            <a:cxnSpLocks/>
          </p:cNvCxnSpPr>
          <p:nvPr/>
        </p:nvCxnSpPr>
        <p:spPr>
          <a:xfrm>
            <a:off x="8743950" y="2838450"/>
            <a:ext cx="95250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D95EC47-D1BE-2EF0-2BCC-3F317A74BC59}"/>
              </a:ext>
            </a:extLst>
          </p:cNvPr>
          <p:cNvCxnSpPr>
            <a:cxnSpLocks/>
          </p:cNvCxnSpPr>
          <p:nvPr/>
        </p:nvCxnSpPr>
        <p:spPr>
          <a:xfrm>
            <a:off x="8839200" y="2810731"/>
            <a:ext cx="0" cy="246794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55DDD75-42CD-4E33-CAD6-5A408787B320}"/>
              </a:ext>
            </a:extLst>
          </p:cNvPr>
          <p:cNvSpPr/>
          <p:nvPr/>
        </p:nvSpPr>
        <p:spPr>
          <a:xfrm>
            <a:off x="8743950" y="1086293"/>
            <a:ext cx="593725" cy="126549"/>
          </a:xfrm>
          <a:custGeom>
            <a:avLst/>
            <a:gdLst>
              <a:gd name="connsiteX0" fmla="*/ 0 w 577850"/>
              <a:gd name="connsiteY0" fmla="*/ 82107 h 82107"/>
              <a:gd name="connsiteX1" fmla="*/ 190500 w 577850"/>
              <a:gd name="connsiteY1" fmla="*/ 5907 h 82107"/>
              <a:gd name="connsiteX2" fmla="*/ 463550 w 577850"/>
              <a:gd name="connsiteY2" fmla="*/ 12257 h 82107"/>
              <a:gd name="connsiteX3" fmla="*/ 577850 w 577850"/>
              <a:gd name="connsiteY3" fmla="*/ 69407 h 82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82107">
                <a:moveTo>
                  <a:pt x="0" y="82107"/>
                </a:moveTo>
                <a:cubicBezTo>
                  <a:pt x="56621" y="49828"/>
                  <a:pt x="113242" y="17549"/>
                  <a:pt x="190500" y="5907"/>
                </a:cubicBezTo>
                <a:cubicBezTo>
                  <a:pt x="267758" y="-5735"/>
                  <a:pt x="398992" y="1674"/>
                  <a:pt x="463550" y="12257"/>
                </a:cubicBezTo>
                <a:cubicBezTo>
                  <a:pt x="528108" y="22840"/>
                  <a:pt x="552979" y="46123"/>
                  <a:pt x="577850" y="69407"/>
                </a:cubicBezTo>
              </a:path>
            </a:pathLst>
          </a:custGeom>
          <a:noFill/>
          <a:ln w="57150">
            <a:solidFill>
              <a:srgbClr val="6ABF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F3F763C-8F37-D91E-D543-131852DF56CC}"/>
              </a:ext>
            </a:extLst>
          </p:cNvPr>
          <p:cNvSpPr/>
          <p:nvPr/>
        </p:nvSpPr>
        <p:spPr>
          <a:xfrm>
            <a:off x="10385426" y="3149600"/>
            <a:ext cx="272876" cy="417235"/>
          </a:xfrm>
          <a:custGeom>
            <a:avLst/>
            <a:gdLst>
              <a:gd name="connsiteX0" fmla="*/ 0 w 291010"/>
              <a:gd name="connsiteY0" fmla="*/ 431800 h 431800"/>
              <a:gd name="connsiteX1" fmla="*/ 196850 w 291010"/>
              <a:gd name="connsiteY1" fmla="*/ 342900 h 431800"/>
              <a:gd name="connsiteX2" fmla="*/ 285750 w 291010"/>
              <a:gd name="connsiteY2" fmla="*/ 190500 h 431800"/>
              <a:gd name="connsiteX3" fmla="*/ 273050 w 291010"/>
              <a:gd name="connsiteY3" fmla="*/ 0 h 43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1010" h="431800">
                <a:moveTo>
                  <a:pt x="0" y="431800"/>
                </a:moveTo>
                <a:cubicBezTo>
                  <a:pt x="74612" y="407458"/>
                  <a:pt x="149225" y="383117"/>
                  <a:pt x="196850" y="342900"/>
                </a:cubicBezTo>
                <a:cubicBezTo>
                  <a:pt x="244475" y="302683"/>
                  <a:pt x="273050" y="247650"/>
                  <a:pt x="285750" y="190500"/>
                </a:cubicBezTo>
                <a:cubicBezTo>
                  <a:pt x="298450" y="133350"/>
                  <a:pt x="285750" y="66675"/>
                  <a:pt x="273050" y="0"/>
                </a:cubicBezTo>
              </a:path>
            </a:pathLst>
          </a:custGeom>
          <a:noFill/>
          <a:ln w="57150">
            <a:solidFill>
              <a:srgbClr val="6ABF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48A789B-AE0D-767D-4CF9-C8F5CDC6CA45}"/>
              </a:ext>
            </a:extLst>
          </p:cNvPr>
          <p:cNvSpPr txBox="1"/>
          <p:nvPr/>
        </p:nvSpPr>
        <p:spPr>
          <a:xfrm>
            <a:off x="9371883" y="2450469"/>
            <a:ext cx="80021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6ABF4B"/>
                </a:solidFill>
              </a:rPr>
              <a:t>EAST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8710EE9-D873-E5A8-89DE-28C7542924AD}"/>
              </a:ext>
            </a:extLst>
          </p:cNvPr>
          <p:cNvCxnSpPr>
            <a:cxnSpLocks/>
          </p:cNvCxnSpPr>
          <p:nvPr/>
        </p:nvCxnSpPr>
        <p:spPr>
          <a:xfrm flipH="1">
            <a:off x="7038975" y="1170002"/>
            <a:ext cx="1704975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F0AEECD-590D-1659-ABD2-9131D360A2F2}"/>
              </a:ext>
            </a:extLst>
          </p:cNvPr>
          <p:cNvCxnSpPr>
            <a:cxnSpLocks/>
          </p:cNvCxnSpPr>
          <p:nvPr/>
        </p:nvCxnSpPr>
        <p:spPr>
          <a:xfrm flipH="1">
            <a:off x="8743950" y="3566835"/>
            <a:ext cx="132219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1940A650-6A89-EA33-ACAC-C202B2FAFB71}"/>
              </a:ext>
            </a:extLst>
          </p:cNvPr>
          <p:cNvCxnSpPr>
            <a:cxnSpLocks/>
          </p:cNvCxnSpPr>
          <p:nvPr/>
        </p:nvCxnSpPr>
        <p:spPr>
          <a:xfrm flipH="1" flipV="1">
            <a:off x="8625182" y="3454400"/>
            <a:ext cx="166393" cy="128729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47F8834-AF7F-19E7-DD15-651A5D7F84E7}"/>
              </a:ext>
            </a:extLst>
          </p:cNvPr>
          <p:cNvCxnSpPr>
            <a:cxnSpLocks/>
          </p:cNvCxnSpPr>
          <p:nvPr/>
        </p:nvCxnSpPr>
        <p:spPr>
          <a:xfrm flipH="1">
            <a:off x="8474075" y="3454400"/>
            <a:ext cx="180949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DACE4C87-6172-C9CA-50FF-641C35FEEEDD}"/>
              </a:ext>
            </a:extLst>
          </p:cNvPr>
          <p:cNvCxnSpPr>
            <a:cxnSpLocks/>
          </p:cNvCxnSpPr>
          <p:nvPr/>
        </p:nvCxnSpPr>
        <p:spPr>
          <a:xfrm flipH="1" flipV="1">
            <a:off x="8260800" y="3251200"/>
            <a:ext cx="231251" cy="20320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268A3517-A126-EBB9-EE81-2BC0DFE2BEC0}"/>
              </a:ext>
            </a:extLst>
          </p:cNvPr>
          <p:cNvCxnSpPr>
            <a:cxnSpLocks/>
          </p:cNvCxnSpPr>
          <p:nvPr/>
        </p:nvCxnSpPr>
        <p:spPr>
          <a:xfrm flipH="1" flipV="1">
            <a:off x="8176206" y="3102887"/>
            <a:ext cx="101026" cy="148313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DD75499-0851-D808-D733-BDC6F1F4A701}"/>
              </a:ext>
            </a:extLst>
          </p:cNvPr>
          <p:cNvCxnSpPr>
            <a:cxnSpLocks/>
          </p:cNvCxnSpPr>
          <p:nvPr/>
        </p:nvCxnSpPr>
        <p:spPr>
          <a:xfrm flipH="1" flipV="1">
            <a:off x="7891462" y="2838450"/>
            <a:ext cx="300489" cy="264437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EA3AE9A-15E2-F979-BD4A-5413B2383975}"/>
              </a:ext>
            </a:extLst>
          </p:cNvPr>
          <p:cNvCxnSpPr>
            <a:cxnSpLocks/>
            <a:endCxn id="81" idx="5"/>
          </p:cNvCxnSpPr>
          <p:nvPr/>
        </p:nvCxnSpPr>
        <p:spPr>
          <a:xfrm flipH="1" flipV="1">
            <a:off x="7337425" y="2432050"/>
            <a:ext cx="596882" cy="433588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ED431268-2521-3508-2620-E0EBCC0C6010}"/>
              </a:ext>
            </a:extLst>
          </p:cNvPr>
          <p:cNvSpPr/>
          <p:nvPr/>
        </p:nvSpPr>
        <p:spPr>
          <a:xfrm>
            <a:off x="6642443" y="1173886"/>
            <a:ext cx="694982" cy="1271879"/>
          </a:xfrm>
          <a:custGeom>
            <a:avLst/>
            <a:gdLst>
              <a:gd name="connsiteX0" fmla="*/ 428282 w 694982"/>
              <a:gd name="connsiteY0" fmla="*/ 864 h 1271879"/>
              <a:gd name="connsiteX1" fmla="*/ 161582 w 694982"/>
              <a:gd name="connsiteY1" fmla="*/ 45314 h 1271879"/>
              <a:gd name="connsiteX2" fmla="*/ 9182 w 694982"/>
              <a:gd name="connsiteY2" fmla="*/ 292964 h 1271879"/>
              <a:gd name="connsiteX3" fmla="*/ 79032 w 694982"/>
              <a:gd name="connsiteY3" fmla="*/ 623164 h 1271879"/>
              <a:gd name="connsiteX4" fmla="*/ 580682 w 694982"/>
              <a:gd name="connsiteY4" fmla="*/ 1188314 h 1271879"/>
              <a:gd name="connsiteX5" fmla="*/ 694982 w 694982"/>
              <a:gd name="connsiteY5" fmla="*/ 1258164 h 127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4982" h="1271879">
                <a:moveTo>
                  <a:pt x="428282" y="864"/>
                </a:moveTo>
                <a:cubicBezTo>
                  <a:pt x="329857" y="-1253"/>
                  <a:pt x="231432" y="-3369"/>
                  <a:pt x="161582" y="45314"/>
                </a:cubicBezTo>
                <a:cubicBezTo>
                  <a:pt x="91732" y="93997"/>
                  <a:pt x="22940" y="196656"/>
                  <a:pt x="9182" y="292964"/>
                </a:cubicBezTo>
                <a:cubicBezTo>
                  <a:pt x="-4576" y="389272"/>
                  <a:pt x="-16218" y="473939"/>
                  <a:pt x="79032" y="623164"/>
                </a:cubicBezTo>
                <a:cubicBezTo>
                  <a:pt x="174282" y="772389"/>
                  <a:pt x="478024" y="1082481"/>
                  <a:pt x="580682" y="1188314"/>
                </a:cubicBezTo>
                <a:cubicBezTo>
                  <a:pt x="683340" y="1294147"/>
                  <a:pt x="689161" y="1276155"/>
                  <a:pt x="694982" y="1258164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EA2581C-245A-1ABE-341F-8944F58A9AF9}"/>
              </a:ext>
            </a:extLst>
          </p:cNvPr>
          <p:cNvSpPr txBox="1"/>
          <p:nvPr/>
        </p:nvSpPr>
        <p:spPr>
          <a:xfrm>
            <a:off x="7350118" y="1589070"/>
            <a:ext cx="85151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00B0F0"/>
                </a:solidFill>
              </a:rPr>
              <a:t>WEST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06B9A621-2EB7-E7A1-6621-82257EC568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2320" y="3876240"/>
            <a:ext cx="4185810" cy="274523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9FFFA418-4288-B5B3-EC09-225B9889B7C0}"/>
              </a:ext>
            </a:extLst>
          </p:cNvPr>
          <p:cNvSpPr/>
          <p:nvPr/>
        </p:nvSpPr>
        <p:spPr>
          <a:xfrm>
            <a:off x="6692320" y="4018108"/>
            <a:ext cx="803396" cy="1308531"/>
          </a:xfrm>
          <a:custGeom>
            <a:avLst/>
            <a:gdLst>
              <a:gd name="connsiteX0" fmla="*/ 428282 w 694982"/>
              <a:gd name="connsiteY0" fmla="*/ 864 h 1271879"/>
              <a:gd name="connsiteX1" fmla="*/ 161582 w 694982"/>
              <a:gd name="connsiteY1" fmla="*/ 45314 h 1271879"/>
              <a:gd name="connsiteX2" fmla="*/ 9182 w 694982"/>
              <a:gd name="connsiteY2" fmla="*/ 292964 h 1271879"/>
              <a:gd name="connsiteX3" fmla="*/ 79032 w 694982"/>
              <a:gd name="connsiteY3" fmla="*/ 623164 h 1271879"/>
              <a:gd name="connsiteX4" fmla="*/ 580682 w 694982"/>
              <a:gd name="connsiteY4" fmla="*/ 1188314 h 1271879"/>
              <a:gd name="connsiteX5" fmla="*/ 694982 w 694982"/>
              <a:gd name="connsiteY5" fmla="*/ 1258164 h 127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4982" h="1271879">
                <a:moveTo>
                  <a:pt x="428282" y="864"/>
                </a:moveTo>
                <a:cubicBezTo>
                  <a:pt x="329857" y="-1253"/>
                  <a:pt x="231432" y="-3369"/>
                  <a:pt x="161582" y="45314"/>
                </a:cubicBezTo>
                <a:cubicBezTo>
                  <a:pt x="91732" y="93997"/>
                  <a:pt x="22940" y="196656"/>
                  <a:pt x="9182" y="292964"/>
                </a:cubicBezTo>
                <a:cubicBezTo>
                  <a:pt x="-4576" y="389272"/>
                  <a:pt x="-16218" y="473939"/>
                  <a:pt x="79032" y="623164"/>
                </a:cubicBezTo>
                <a:cubicBezTo>
                  <a:pt x="174282" y="772389"/>
                  <a:pt x="478024" y="1082481"/>
                  <a:pt x="580682" y="1188314"/>
                </a:cubicBezTo>
                <a:cubicBezTo>
                  <a:pt x="683340" y="1294147"/>
                  <a:pt x="689161" y="1276155"/>
                  <a:pt x="694982" y="1258164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B2A04C0F-D097-BAE7-0D80-5DE42BEAA540}"/>
              </a:ext>
            </a:extLst>
          </p:cNvPr>
          <p:cNvCxnSpPr>
            <a:cxnSpLocks/>
          </p:cNvCxnSpPr>
          <p:nvPr/>
        </p:nvCxnSpPr>
        <p:spPr>
          <a:xfrm flipH="1">
            <a:off x="7105084" y="4018108"/>
            <a:ext cx="1704975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F24873A9-E99A-51F1-C0F6-6749C9C55F3B}"/>
              </a:ext>
            </a:extLst>
          </p:cNvPr>
          <p:cNvCxnSpPr>
            <a:cxnSpLocks/>
          </p:cNvCxnSpPr>
          <p:nvPr/>
        </p:nvCxnSpPr>
        <p:spPr>
          <a:xfrm flipH="1" flipV="1">
            <a:off x="9396137" y="4008130"/>
            <a:ext cx="896474" cy="1318509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B516DC35-15D0-91A3-75B4-1EFA5C8E7DF2}"/>
              </a:ext>
            </a:extLst>
          </p:cNvPr>
          <p:cNvSpPr/>
          <p:nvPr/>
        </p:nvSpPr>
        <p:spPr>
          <a:xfrm>
            <a:off x="8803683" y="3924421"/>
            <a:ext cx="593725" cy="126549"/>
          </a:xfrm>
          <a:custGeom>
            <a:avLst/>
            <a:gdLst>
              <a:gd name="connsiteX0" fmla="*/ 0 w 577850"/>
              <a:gd name="connsiteY0" fmla="*/ 82107 h 82107"/>
              <a:gd name="connsiteX1" fmla="*/ 190500 w 577850"/>
              <a:gd name="connsiteY1" fmla="*/ 5907 h 82107"/>
              <a:gd name="connsiteX2" fmla="*/ 463550 w 577850"/>
              <a:gd name="connsiteY2" fmla="*/ 12257 h 82107"/>
              <a:gd name="connsiteX3" fmla="*/ 577850 w 577850"/>
              <a:gd name="connsiteY3" fmla="*/ 69407 h 82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82107">
                <a:moveTo>
                  <a:pt x="0" y="82107"/>
                </a:moveTo>
                <a:cubicBezTo>
                  <a:pt x="56621" y="49828"/>
                  <a:pt x="113242" y="17549"/>
                  <a:pt x="190500" y="5907"/>
                </a:cubicBezTo>
                <a:cubicBezTo>
                  <a:pt x="267758" y="-5735"/>
                  <a:pt x="398992" y="1674"/>
                  <a:pt x="463550" y="12257"/>
                </a:cubicBezTo>
                <a:cubicBezTo>
                  <a:pt x="528108" y="22840"/>
                  <a:pt x="552979" y="46123"/>
                  <a:pt x="577850" y="69407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3E5F26B-5C89-318D-1AD8-BA25AAD85809}"/>
              </a:ext>
            </a:extLst>
          </p:cNvPr>
          <p:cNvCxnSpPr>
            <a:cxnSpLocks/>
          </p:cNvCxnSpPr>
          <p:nvPr/>
        </p:nvCxnSpPr>
        <p:spPr>
          <a:xfrm flipH="1">
            <a:off x="7453959" y="5326639"/>
            <a:ext cx="2804466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5AE0BD9E-8109-18CF-68E5-C7CAC3B47B00}"/>
              </a:ext>
            </a:extLst>
          </p:cNvPr>
          <p:cNvCxnSpPr>
            <a:cxnSpLocks/>
            <a:stCxn id="96" idx="3"/>
          </p:cNvCxnSpPr>
          <p:nvPr/>
        </p:nvCxnSpPr>
        <p:spPr>
          <a:xfrm flipH="1" flipV="1">
            <a:off x="10301013" y="5343920"/>
            <a:ext cx="383293" cy="639199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14FB119-7525-9EEA-B805-78B355300408}"/>
              </a:ext>
            </a:extLst>
          </p:cNvPr>
          <p:cNvCxnSpPr>
            <a:cxnSpLocks/>
          </p:cNvCxnSpPr>
          <p:nvPr/>
        </p:nvCxnSpPr>
        <p:spPr>
          <a:xfrm flipH="1">
            <a:off x="8950895" y="6400359"/>
            <a:ext cx="1497226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E80524C7-1071-88D1-437D-877A248C40BC}"/>
              </a:ext>
            </a:extLst>
          </p:cNvPr>
          <p:cNvSpPr/>
          <p:nvPr/>
        </p:nvSpPr>
        <p:spPr>
          <a:xfrm>
            <a:off x="10428271" y="5983119"/>
            <a:ext cx="272876" cy="417235"/>
          </a:xfrm>
          <a:custGeom>
            <a:avLst/>
            <a:gdLst>
              <a:gd name="connsiteX0" fmla="*/ 0 w 291010"/>
              <a:gd name="connsiteY0" fmla="*/ 431800 h 431800"/>
              <a:gd name="connsiteX1" fmla="*/ 196850 w 291010"/>
              <a:gd name="connsiteY1" fmla="*/ 342900 h 431800"/>
              <a:gd name="connsiteX2" fmla="*/ 285750 w 291010"/>
              <a:gd name="connsiteY2" fmla="*/ 190500 h 431800"/>
              <a:gd name="connsiteX3" fmla="*/ 273050 w 291010"/>
              <a:gd name="connsiteY3" fmla="*/ 0 h 43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1010" h="431800">
                <a:moveTo>
                  <a:pt x="0" y="431800"/>
                </a:moveTo>
                <a:cubicBezTo>
                  <a:pt x="74612" y="407458"/>
                  <a:pt x="149225" y="383117"/>
                  <a:pt x="196850" y="342900"/>
                </a:cubicBezTo>
                <a:cubicBezTo>
                  <a:pt x="244475" y="302683"/>
                  <a:pt x="273050" y="247650"/>
                  <a:pt x="285750" y="190500"/>
                </a:cubicBezTo>
                <a:cubicBezTo>
                  <a:pt x="298450" y="133350"/>
                  <a:pt x="285750" y="66675"/>
                  <a:pt x="273050" y="0"/>
                </a:cubicBezTo>
              </a:path>
            </a:pathLst>
          </a:custGeom>
          <a:noFill/>
          <a:ln w="57150">
            <a:solidFill>
              <a:srgbClr val="6ABF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0C9506CD-E058-5422-572F-7FA1C7D9A062}"/>
              </a:ext>
            </a:extLst>
          </p:cNvPr>
          <p:cNvCxnSpPr>
            <a:cxnSpLocks/>
          </p:cNvCxnSpPr>
          <p:nvPr/>
        </p:nvCxnSpPr>
        <p:spPr>
          <a:xfrm flipH="1">
            <a:off x="8786795" y="6400354"/>
            <a:ext cx="132219" cy="0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E25DC727-9229-41B7-91DE-B1D897E484B1}"/>
              </a:ext>
            </a:extLst>
          </p:cNvPr>
          <p:cNvCxnSpPr>
            <a:cxnSpLocks/>
          </p:cNvCxnSpPr>
          <p:nvPr/>
        </p:nvCxnSpPr>
        <p:spPr>
          <a:xfrm flipH="1" flipV="1">
            <a:off x="8668027" y="6287919"/>
            <a:ext cx="166393" cy="128729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8FE293EC-014C-8197-0B1C-0363CE69DD9F}"/>
              </a:ext>
            </a:extLst>
          </p:cNvPr>
          <p:cNvCxnSpPr>
            <a:cxnSpLocks/>
          </p:cNvCxnSpPr>
          <p:nvPr/>
        </p:nvCxnSpPr>
        <p:spPr>
          <a:xfrm flipH="1">
            <a:off x="8516920" y="6287919"/>
            <a:ext cx="180949" cy="0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CFB80558-56FB-8DD3-92FA-7342BAD4C0A3}"/>
              </a:ext>
            </a:extLst>
          </p:cNvPr>
          <p:cNvCxnSpPr>
            <a:cxnSpLocks/>
          </p:cNvCxnSpPr>
          <p:nvPr/>
        </p:nvCxnSpPr>
        <p:spPr>
          <a:xfrm flipH="1" flipV="1">
            <a:off x="8303645" y="6084719"/>
            <a:ext cx="231251" cy="203200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2D73D51E-9651-C0F9-E4E3-F0667929BBF2}"/>
              </a:ext>
            </a:extLst>
          </p:cNvPr>
          <p:cNvCxnSpPr>
            <a:cxnSpLocks/>
          </p:cNvCxnSpPr>
          <p:nvPr/>
        </p:nvCxnSpPr>
        <p:spPr>
          <a:xfrm flipH="1" flipV="1">
            <a:off x="8219051" y="5936406"/>
            <a:ext cx="101026" cy="148313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5ECCDF4-0988-563B-8CA2-B56B2F0143F3}"/>
              </a:ext>
            </a:extLst>
          </p:cNvPr>
          <p:cNvCxnSpPr>
            <a:cxnSpLocks/>
          </p:cNvCxnSpPr>
          <p:nvPr/>
        </p:nvCxnSpPr>
        <p:spPr>
          <a:xfrm flipH="1" flipV="1">
            <a:off x="7495716" y="5343920"/>
            <a:ext cx="739080" cy="592486"/>
          </a:xfrm>
          <a:prstGeom prst="line">
            <a:avLst/>
          </a:prstGeom>
          <a:ln w="57150"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952313D1-5109-D775-A550-4ABF4C58DF48}"/>
              </a:ext>
            </a:extLst>
          </p:cNvPr>
          <p:cNvSpPr txBox="1"/>
          <p:nvPr/>
        </p:nvSpPr>
        <p:spPr>
          <a:xfrm>
            <a:off x="7133164" y="4152666"/>
            <a:ext cx="1005404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00B0F0"/>
                </a:solidFill>
              </a:rPr>
              <a:t>NORTH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E587D1C7-5FBE-B62F-3AE9-EA56CB3D40FD}"/>
              </a:ext>
            </a:extLst>
          </p:cNvPr>
          <p:cNvSpPr txBox="1"/>
          <p:nvPr/>
        </p:nvSpPr>
        <p:spPr>
          <a:xfrm>
            <a:off x="9572129" y="5936406"/>
            <a:ext cx="99258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6ABF4B"/>
                </a:solidFill>
              </a:rPr>
              <a:t>SOUTH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72BC4DA8-4464-267E-22D0-F2A513E075C0}"/>
              </a:ext>
            </a:extLst>
          </p:cNvPr>
          <p:cNvSpPr txBox="1"/>
          <p:nvPr/>
        </p:nvSpPr>
        <p:spPr>
          <a:xfrm rot="5400000">
            <a:off x="10153501" y="2238293"/>
            <a:ext cx="183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C71F41"/>
                </a:solidFill>
              </a:rPr>
              <a:t>Recommended</a:t>
            </a:r>
          </a:p>
        </p:txBody>
      </p:sp>
      <p:graphicFrame>
        <p:nvGraphicFramePr>
          <p:cNvPr id="108" name="Table 107">
            <a:extLst>
              <a:ext uri="{FF2B5EF4-FFF2-40B4-BE49-F238E27FC236}">
                <a16:creationId xmlns:a16="http://schemas.microsoft.com/office/drawing/2014/main" id="{28681B63-B6A8-2153-2935-2781795E9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9366955"/>
              </p:ext>
            </p:extLst>
          </p:nvPr>
        </p:nvGraphicFramePr>
        <p:xfrm>
          <a:off x="432899" y="3802839"/>
          <a:ext cx="5049240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0478">
                  <a:extLst>
                    <a:ext uri="{9D8B030D-6E8A-4147-A177-3AD203B41FA5}">
                      <a16:colId xmlns:a16="http://schemas.microsoft.com/office/drawing/2014/main" val="1348664723"/>
                    </a:ext>
                  </a:extLst>
                </a:gridCol>
                <a:gridCol w="1853148">
                  <a:extLst>
                    <a:ext uri="{9D8B030D-6E8A-4147-A177-3AD203B41FA5}">
                      <a16:colId xmlns:a16="http://schemas.microsoft.com/office/drawing/2014/main" val="2226062696"/>
                    </a:ext>
                  </a:extLst>
                </a:gridCol>
                <a:gridCol w="907807">
                  <a:extLst>
                    <a:ext uri="{9D8B030D-6E8A-4147-A177-3AD203B41FA5}">
                      <a16:colId xmlns:a16="http://schemas.microsoft.com/office/drawing/2014/main" val="4284397440"/>
                    </a:ext>
                  </a:extLst>
                </a:gridCol>
                <a:gridCol w="907807">
                  <a:extLst>
                    <a:ext uri="{9D8B030D-6E8A-4147-A177-3AD203B41FA5}">
                      <a16:colId xmlns:a16="http://schemas.microsoft.com/office/drawing/2014/main" val="1285628303"/>
                    </a:ext>
                  </a:extLst>
                </a:gridCol>
              </a:tblGrid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lags (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C</a:t>
                      </a:r>
                      <a:r>
                        <a:rPr lang="en-US" sz="1400" dirty="0"/>
                        <a:t>/</a:t>
                      </a:r>
                      <a:r>
                        <a:rPr lang="en-US" sz="1400" dirty="0">
                          <a:solidFill>
                            <a:srgbClr val="C00000"/>
                          </a:solidFill>
                        </a:rPr>
                        <a:t>H</a:t>
                      </a:r>
                      <a:r>
                        <a:rPr lang="en-US" sz="1400" dirty="0"/>
                        <a:t>/</a:t>
                      </a:r>
                      <a:r>
                        <a:rPr lang="en-US" sz="1400" dirty="0">
                          <a:solidFill>
                            <a:srgbClr val="FFC000"/>
                          </a:solidFill>
                        </a:rPr>
                        <a:t>M</a:t>
                      </a:r>
                      <a:r>
                        <a:rPr lang="en-US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CF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outes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878082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7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79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127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53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8428312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16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49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$9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2289043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25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8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9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8794874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E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(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9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120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FFC000"/>
                          </a:solidFill>
                        </a:rPr>
                        <a:t>256</a:t>
                      </a:r>
                      <a:r>
                        <a:rPr lang="en-US" sz="1400" b="1" dirty="0"/>
                        <a:t>) </a:t>
                      </a:r>
                      <a:r>
                        <a:rPr lang="en-US" sz="1400" b="0" i="1" u="none" dirty="0"/>
                        <a:t>3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$71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7113395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0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24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15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7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0580308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3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2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9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8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7574101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1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10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8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740832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W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(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4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56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FFC000"/>
                          </a:solidFill>
                        </a:rPr>
                        <a:t>340</a:t>
                      </a:r>
                      <a:r>
                        <a:rPr lang="en-US" sz="1400" b="1" dirty="0"/>
                        <a:t>) </a:t>
                      </a:r>
                      <a:r>
                        <a:rPr lang="en-US" sz="1400" b="0" i="1" dirty="0"/>
                        <a:t>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$53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9608669"/>
                  </a:ext>
                </a:extLst>
              </a:tr>
            </a:tbl>
          </a:graphicData>
        </a:graphic>
      </p:graphicFrame>
      <p:sp>
        <p:nvSpPr>
          <p:cNvPr id="109" name="TextBox 108">
            <a:extLst>
              <a:ext uri="{FF2B5EF4-FFF2-40B4-BE49-F238E27FC236}">
                <a16:creationId xmlns:a16="http://schemas.microsoft.com/office/drawing/2014/main" id="{F9B6DA5C-3F67-908B-E663-66A18326EB37}"/>
              </a:ext>
            </a:extLst>
          </p:cNvPr>
          <p:cNvSpPr txBox="1"/>
          <p:nvPr/>
        </p:nvSpPr>
        <p:spPr>
          <a:xfrm>
            <a:off x="418761" y="6546039"/>
            <a:ext cx="53703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 New recommendation assuming dynamic optimization in plac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F1BE2C97-497C-6787-671B-7B87C61752C2}"/>
              </a:ext>
            </a:extLst>
          </p:cNvPr>
          <p:cNvSpPr txBox="1"/>
          <p:nvPr/>
        </p:nvSpPr>
        <p:spPr>
          <a:xfrm rot="5400000">
            <a:off x="10123435" y="5082171"/>
            <a:ext cx="2018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ternative Option</a:t>
            </a:r>
          </a:p>
        </p:txBody>
      </p:sp>
    </p:spTree>
    <p:extLst>
      <p:ext uri="{BB962C8B-B14F-4D97-AF65-F5344CB8AC3E}">
        <p14:creationId xmlns:p14="http://schemas.microsoft.com/office/powerpoint/2010/main" val="116883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3B124-6D8F-7B2C-4334-C86423CDD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E784BC-C545-DCE8-60D2-01C972C1B2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 Distribu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E835D9-1292-38DE-664D-789F63FF26A4}"/>
              </a:ext>
            </a:extLst>
          </p:cNvPr>
          <p:cNvSpPr txBox="1"/>
          <p:nvPr/>
        </p:nvSpPr>
        <p:spPr>
          <a:xfrm>
            <a:off x="365759" y="1322773"/>
            <a:ext cx="450808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vious Routes are based on # wells and drive time. </a:t>
            </a:r>
            <a:r>
              <a:rPr lang="en-US" b="1" dirty="0"/>
              <a:t>Did not factor Cash Flow / Liquid Production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ticipated activity was not factored in, includ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ift Equipment Troubleshoo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Gauging Frequency </a:t>
            </a:r>
          </a:p>
          <a:p>
            <a:pPr lvl="1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date Routes based on Cash Flow and Activity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verage Data to Decrease Routes from 33 to 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erage Cash Flow per LO increases from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3A70563-0A3E-C2FF-4BBA-378692371E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4740632"/>
              </p:ext>
            </p:extLst>
          </p:nvPr>
        </p:nvGraphicFramePr>
        <p:xfrm>
          <a:off x="5299970" y="1123301"/>
          <a:ext cx="6782539" cy="2738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3B61F88-1945-FC39-49B3-05BCD62E52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0047133"/>
              </p:ext>
            </p:extLst>
          </p:nvPr>
        </p:nvGraphicFramePr>
        <p:xfrm>
          <a:off x="5218545" y="3832827"/>
          <a:ext cx="6973455" cy="2907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9928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05C4E8-CB30-652F-37A9-2E4E58C67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7DF5FA-12EB-34C7-879C-7468DFC1A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dated Operations Org (Option #1) – </a:t>
            </a:r>
            <a:r>
              <a:rPr lang="en-US" dirty="0">
                <a:solidFill>
                  <a:srgbClr val="C71F41"/>
                </a:solidFill>
              </a:rPr>
              <a:t>Recommended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E7671342-50B3-07FC-FDF5-AF95788106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272286"/>
              </p:ext>
            </p:extLst>
          </p:nvPr>
        </p:nvGraphicFramePr>
        <p:xfrm>
          <a:off x="3508745" y="1082911"/>
          <a:ext cx="991235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F258B3F-684F-355B-9560-2B1968E94B30}"/>
              </a:ext>
            </a:extLst>
          </p:cNvPr>
          <p:cNvSpPr txBox="1"/>
          <p:nvPr/>
        </p:nvSpPr>
        <p:spPr>
          <a:xfrm>
            <a:off x="772357" y="2379216"/>
            <a:ext cx="2287806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trong Perform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eff Will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dd Wrigh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rent Pletc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adley Smi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evin Flowers</a:t>
            </a:r>
          </a:p>
        </p:txBody>
      </p:sp>
    </p:spTree>
    <p:extLst>
      <p:ext uri="{BB962C8B-B14F-4D97-AF65-F5344CB8AC3E}">
        <p14:creationId xmlns:p14="http://schemas.microsoft.com/office/powerpoint/2010/main" val="72210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05C4E8-CB30-652F-37A9-2E4E58C67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7DF5FA-12EB-34C7-879C-7468DFC1A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dated Operations Org (Option #2)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E7671342-50B3-07FC-FDF5-AF95788106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8348216"/>
              </p:ext>
            </p:extLst>
          </p:nvPr>
        </p:nvGraphicFramePr>
        <p:xfrm>
          <a:off x="1031875" y="1100666"/>
          <a:ext cx="991235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9109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Continental Resources (CLR) to Sell Oklahoma Oil and Gas Assets - TheStreet">
            <a:extLst>
              <a:ext uri="{FF2B5EF4-FFF2-40B4-BE49-F238E27FC236}">
                <a16:creationId xmlns:a16="http://schemas.microsoft.com/office/drawing/2014/main" id="{0EA34030-9DC7-6479-639C-A21CBFF882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496" y="1635034"/>
            <a:ext cx="5146766" cy="418229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6864B1A-EA50-D230-C2F6-FFA32343BC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6374674" cy="4846320"/>
          </a:xfrm>
        </p:spPr>
        <p:txBody>
          <a:bodyPr/>
          <a:lstStyle/>
          <a:p>
            <a:r>
              <a:rPr lang="en-US" sz="2000"/>
              <a:t>Adopt </a:t>
            </a:r>
            <a:r>
              <a:rPr lang="en-US" sz="2000" b="1"/>
              <a:t>field first</a:t>
            </a:r>
            <a:r>
              <a:rPr lang="en-US" sz="2000"/>
              <a:t> philosophy</a:t>
            </a:r>
          </a:p>
          <a:p>
            <a:endParaRPr lang="en-US" sz="2000"/>
          </a:p>
          <a:p>
            <a:r>
              <a:rPr lang="en-US" sz="2000"/>
              <a:t>Successful change requires executive sponsorship</a:t>
            </a:r>
          </a:p>
          <a:p>
            <a:endParaRPr lang="en-US" sz="2000"/>
          </a:p>
          <a:p>
            <a:r>
              <a:rPr lang="en-US" sz="2000"/>
              <a:t>Educate the field &amp; office to ensure they have the same understanding</a:t>
            </a:r>
          </a:p>
          <a:p>
            <a:endParaRPr lang="en-US" sz="2000"/>
          </a:p>
          <a:p>
            <a:r>
              <a:rPr lang="en-US" sz="2000"/>
              <a:t>The best way to gain trust is to demonstrate value</a:t>
            </a:r>
          </a:p>
          <a:p>
            <a:endParaRPr lang="en-US" sz="2000"/>
          </a:p>
          <a:p>
            <a:r>
              <a:rPr lang="en-US" sz="2000"/>
              <a:t>Spend time and effort in hands-on training to improve adop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66E88B-C315-A609-1378-78D281503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199C0D5-9AD7-47A6-1F2F-EA94FB645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TIC Guiding Principles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607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8B36933-E645-4CB5-CAA4-DB81D834D5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59" y="1234440"/>
            <a:ext cx="5606416" cy="4846320"/>
          </a:xfrm>
        </p:spPr>
        <p:txBody>
          <a:bodyPr/>
          <a:lstStyle/>
          <a:p>
            <a:r>
              <a:rPr lang="en-US"/>
              <a:t>One of our most important workspaces was being neglected </a:t>
            </a:r>
          </a:p>
          <a:p>
            <a:pPr lvl="1"/>
            <a:r>
              <a:rPr lang="en-US"/>
              <a:t>Not getting the IT ticketing support </a:t>
            </a:r>
          </a:p>
          <a:p>
            <a:pPr lvl="1"/>
            <a:r>
              <a:rPr lang="en-US"/>
              <a:t>Not empowered to influence corporate technology decisions </a:t>
            </a:r>
          </a:p>
          <a:p>
            <a:pPr lvl="1"/>
            <a:r>
              <a:rPr lang="en-US"/>
              <a:t>Inconsistent in feel &amp; quality</a:t>
            </a:r>
          </a:p>
          <a:p>
            <a:pPr lvl="1"/>
            <a:r>
              <a:rPr lang="en-US"/>
              <a:t>Not designed for success</a:t>
            </a:r>
          </a:p>
          <a:p>
            <a:endParaRPr lang="en-US"/>
          </a:p>
          <a:p>
            <a:r>
              <a:rPr lang="en-US"/>
              <a:t>Service Desk has been partnering with Field Admins to ensure high levels of customer service for Field Personnel</a:t>
            </a:r>
          </a:p>
          <a:p>
            <a:r>
              <a:rPr lang="en-US"/>
              <a:t> Per strong field request, we are moving on from Surface Tablets (zero cost increase, long term maintenance costs will be reduced from </a:t>
            </a:r>
          </a:p>
          <a:p>
            <a:r>
              <a:rPr lang="en-US"/>
              <a:t>Infrastructure team will improve internet connectivity at the field offices (currently bottlenecked by centralized data center internet flow)</a:t>
            </a:r>
          </a:p>
          <a:p>
            <a:r>
              <a:rPr lang="en-US"/>
              <a:t>Evaluating additional options on an as-needed basis (e.g. Cell Boosters, </a:t>
            </a:r>
            <a:r>
              <a:rPr lang="en-US" err="1"/>
              <a:t>Starlink</a:t>
            </a:r>
            <a:r>
              <a:rPr lang="en-US"/>
              <a:t>, etc. etc.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686429-9D8C-8F08-C31F-431D6D525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D54778-2F9D-E0C6-75E2-B5CCC1701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ne of our most important workspaces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1D0A636-8CDF-A947-C2D0-E58FB0D8948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15137" y="1304925"/>
            <a:ext cx="4915210" cy="23526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31" name="Picture 1" descr="Buy Dell Latitude 5430 Rugged Laptop online in UAE - Tejar.com UAE">
            <a:extLst>
              <a:ext uri="{FF2B5EF4-FFF2-40B4-BE49-F238E27FC236}">
                <a16:creationId xmlns:a16="http://schemas.microsoft.com/office/drawing/2014/main" id="{CE0A1561-2B84-4C1D-F666-28056D9326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5938" y="4204026"/>
            <a:ext cx="2557462" cy="171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9A697AC-E67F-9B11-08F7-D6BD6E248B9C}"/>
              </a:ext>
            </a:extLst>
          </p:cNvPr>
          <p:cNvSpPr txBox="1"/>
          <p:nvPr/>
        </p:nvSpPr>
        <p:spPr>
          <a:xfrm>
            <a:off x="6986278" y="5923000"/>
            <a:ext cx="49152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ame Price, Longer Lifespan… Better Form Factor for O&amp;G Work Conditions </a:t>
            </a:r>
          </a:p>
        </p:txBody>
      </p:sp>
      <p:pic>
        <p:nvPicPr>
          <p:cNvPr id="1033" name="Picture 9">
            <a:extLst>
              <a:ext uri="{FF2B5EF4-FFF2-40B4-BE49-F238E27FC236}">
                <a16:creationId xmlns:a16="http://schemas.microsoft.com/office/drawing/2014/main" id="{F8073FBC-C442-497A-A7AC-148C3B1A37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9085" y="4074055"/>
            <a:ext cx="1072840" cy="163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>
            <a:extLst>
              <a:ext uri="{FF2B5EF4-FFF2-40B4-BE49-F238E27FC236}">
                <a16:creationId xmlns:a16="http://schemas.microsoft.com/office/drawing/2014/main" id="{58BF3301-358D-51DF-29D5-602BAA57CA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5337" y="4161425"/>
            <a:ext cx="1477188" cy="1028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DB0DB7C2-010F-CBFB-00A3-5A04E5BAF594}"/>
              </a:ext>
            </a:extLst>
          </p:cNvPr>
          <p:cNvSpPr/>
          <p:nvPr/>
        </p:nvSpPr>
        <p:spPr>
          <a:xfrm rot="575741">
            <a:off x="9603986" y="4763044"/>
            <a:ext cx="704850" cy="485775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579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6296C1E-97EE-C99A-72C7-44543EBD7B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6960" y="2183674"/>
            <a:ext cx="5699760" cy="357365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Less than 20 minutes per day doing data entry</a:t>
            </a:r>
          </a:p>
          <a:p>
            <a:r>
              <a:rPr lang="en-US" dirty="0"/>
              <a:t>85%+ Productive time</a:t>
            </a:r>
          </a:p>
          <a:p>
            <a:pPr lvl="1"/>
            <a:r>
              <a:rPr lang="en-US" dirty="0"/>
              <a:t>LOs area assigned high value tasks </a:t>
            </a:r>
            <a:endParaRPr lang="en-US" b="1" dirty="0"/>
          </a:p>
          <a:p>
            <a:pPr lvl="1"/>
            <a:r>
              <a:rPr lang="en-US" dirty="0"/>
              <a:t>End of Shift Report is automatically compiled for the field management team! </a:t>
            </a:r>
            <a:r>
              <a:rPr lang="en-US" b="1" dirty="0"/>
              <a:t>No more digging in outlook, notebooks or texts to explain past production variances!</a:t>
            </a:r>
            <a:endParaRPr lang="en-US" b="1" dirty="0">
              <a:cs typeface="Arial"/>
            </a:endParaRPr>
          </a:p>
          <a:p>
            <a:r>
              <a:rPr lang="en-US" dirty="0"/>
              <a:t>Seamless field communication historized in the data lake</a:t>
            </a:r>
          </a:p>
          <a:p>
            <a:r>
              <a:rPr lang="en-US" dirty="0"/>
              <a:t>Day to Day note taking is seamlessly integrated with back-office systems!</a:t>
            </a:r>
          </a:p>
          <a:p>
            <a:r>
              <a:rPr lang="en-US" dirty="0"/>
              <a:t>Resources Allocated to Top Issues (Field Wide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825A75-73E4-FDF1-6927-1F455E416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0AF332F-8851-2BD3-75F8-A839DD849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794" y="169127"/>
            <a:ext cx="9562012" cy="678823"/>
          </a:xfrm>
        </p:spPr>
        <p:txBody>
          <a:bodyPr/>
          <a:lstStyle/>
          <a:p>
            <a:r>
              <a:rPr lang="en-US"/>
              <a:t>Maverick Operational Priority System (MAV OPS) </a:t>
            </a:r>
          </a:p>
        </p:txBody>
      </p:sp>
      <p:pic>
        <p:nvPicPr>
          <p:cNvPr id="1031" name="Picture 8">
            <a:extLst>
              <a:ext uri="{FF2B5EF4-FFF2-40B4-BE49-F238E27FC236}">
                <a16:creationId xmlns:a16="http://schemas.microsoft.com/office/drawing/2014/main" id="{4D195EC4-23EF-C570-086D-4D17E0DEB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261" y="2626903"/>
            <a:ext cx="5351690" cy="1604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7467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528D31-6B74-3C19-0EB7-390F3D813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5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51E77E-2C3C-F324-AC09-B74694A10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 Usage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278D0DEF-B08F-42F7-202F-D220BEE4D61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27420938"/>
              </p:ext>
            </p:extLst>
          </p:nvPr>
        </p:nvGraphicFramePr>
        <p:xfrm>
          <a:off x="365759" y="1040535"/>
          <a:ext cx="3203064" cy="54645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3953022" imgH="6743802" progId="Excel.Sheet.12">
                  <p:embed/>
                </p:oleObj>
              </mc:Choice>
              <mc:Fallback>
                <p:oleObj name="Worksheet" r:id="rId2" imgW="3953022" imgH="6743802" progId="Excel.Sheet.12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278D0DEF-B08F-42F7-202F-D220BEE4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65759" y="1040535"/>
                        <a:ext cx="3203064" cy="54645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26462EC5-6E07-6AA8-06DF-E0CE2ED6C0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8600" y="1276007"/>
            <a:ext cx="8132907" cy="5111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31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DF1FC-4D01-4D2B-8BDD-0281E53AFA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Pump by Priority - WA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3BA7A4-FF87-4574-8E53-DA9C2C6C8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67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6BC3BF-3511-0187-354A-1F8E45049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DB06E59-CF9C-3122-211A-C1372BAE0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abor &amp; Vehicles Long Term Trend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C15B734-1FF7-4133-FAD6-6314B5CCC8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5257503"/>
              </p:ext>
            </p:extLst>
          </p:nvPr>
        </p:nvGraphicFramePr>
        <p:xfrm>
          <a:off x="1630607" y="1017049"/>
          <a:ext cx="7938318" cy="546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0B7464D-BED2-FF30-3411-A0DA2BF11577}"/>
              </a:ext>
            </a:extLst>
          </p:cNvPr>
          <p:cNvSpPr/>
          <p:nvPr/>
        </p:nvSpPr>
        <p:spPr>
          <a:xfrm>
            <a:off x="6124390" y="3147689"/>
            <a:ext cx="772357" cy="372862"/>
          </a:xfrm>
          <a:prstGeom prst="roundRect">
            <a:avLst/>
          </a:prstGeom>
          <a:noFill/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87D92D-6079-39B2-C0E5-8CE24E88701C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6896747" y="3334120"/>
            <a:ext cx="234008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67478B2-947B-CDF4-17D0-834323593002}"/>
              </a:ext>
            </a:extLst>
          </p:cNvPr>
          <p:cNvCxnSpPr>
            <a:cxnSpLocks/>
          </p:cNvCxnSpPr>
          <p:nvPr/>
        </p:nvCxnSpPr>
        <p:spPr>
          <a:xfrm>
            <a:off x="8697006" y="4025127"/>
            <a:ext cx="538273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BA5AE73-A61E-D087-034D-A6135BDDB57C}"/>
              </a:ext>
            </a:extLst>
          </p:cNvPr>
          <p:cNvSpPr txBox="1"/>
          <p:nvPr/>
        </p:nvSpPr>
        <p:spPr>
          <a:xfrm>
            <a:off x="9202325" y="3875071"/>
            <a:ext cx="2662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rgbClr val="C00000"/>
                </a:solidFill>
              </a:rPr>
              <a:t>Project Economic Target (Budget)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B542B0B-3445-E838-4AF3-E417E36E461E}"/>
              </a:ext>
            </a:extLst>
          </p:cNvPr>
          <p:cNvCxnSpPr>
            <a:cxnSpLocks/>
          </p:cNvCxnSpPr>
          <p:nvPr/>
        </p:nvCxnSpPr>
        <p:spPr>
          <a:xfrm>
            <a:off x="8714834" y="4488530"/>
            <a:ext cx="53106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199DB74-5815-3EB5-6599-C6E338B3047A}"/>
              </a:ext>
            </a:extLst>
          </p:cNvPr>
          <p:cNvSpPr txBox="1"/>
          <p:nvPr/>
        </p:nvSpPr>
        <p:spPr>
          <a:xfrm>
            <a:off x="9211396" y="4322907"/>
            <a:ext cx="1960601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200" b="1">
                <a:solidFill>
                  <a:srgbClr val="002060"/>
                </a:solidFill>
              </a:rPr>
              <a:t>Top Quartile </a:t>
            </a:r>
            <a:r>
              <a:rPr lang="en-US" sz="1200" b="1" dirty="0">
                <a:solidFill>
                  <a:srgbClr val="002060"/>
                </a:solidFill>
              </a:rPr>
              <a:t>Benchmark</a:t>
            </a:r>
            <a:endParaRPr lang="en-US" sz="1200" b="1">
              <a:solidFill>
                <a:srgbClr val="00206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B15AA8-AF4A-8F8F-0D44-A28411901F5C}"/>
              </a:ext>
            </a:extLst>
          </p:cNvPr>
          <p:cNvSpPr txBox="1"/>
          <p:nvPr/>
        </p:nvSpPr>
        <p:spPr>
          <a:xfrm>
            <a:off x="9236827" y="3180027"/>
            <a:ext cx="8162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/>
              <a:t>Baselin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161E2CD-3EBA-B4C1-CA86-36ED95EDF098}"/>
              </a:ext>
            </a:extLst>
          </p:cNvPr>
          <p:cNvSpPr/>
          <p:nvPr/>
        </p:nvSpPr>
        <p:spPr>
          <a:xfrm>
            <a:off x="8888369" y="4400863"/>
            <a:ext cx="137160" cy="137160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C93817F-3CBB-AA02-F65A-3BBEF809E541}"/>
              </a:ext>
            </a:extLst>
          </p:cNvPr>
          <p:cNvCxnSpPr>
            <a:cxnSpLocks/>
            <a:endCxn id="4" idx="1"/>
          </p:cNvCxnSpPr>
          <p:nvPr/>
        </p:nvCxnSpPr>
        <p:spPr>
          <a:xfrm>
            <a:off x="8697006" y="4025127"/>
            <a:ext cx="211450" cy="395823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25AFC9B-6931-B9D0-629F-E5BA6080AAF3}"/>
              </a:ext>
            </a:extLst>
          </p:cNvPr>
          <p:cNvSpPr txBox="1"/>
          <p:nvPr/>
        </p:nvSpPr>
        <p:spPr>
          <a:xfrm>
            <a:off x="9394155" y="4570115"/>
            <a:ext cx="253831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$4.5MM to $5MM per year opportunity remaining (Area Consolidation &amp; Route Optimization)</a:t>
            </a:r>
          </a:p>
        </p:txBody>
      </p:sp>
    </p:spTree>
    <p:extLst>
      <p:ext uri="{BB962C8B-B14F-4D97-AF65-F5344CB8AC3E}">
        <p14:creationId xmlns:p14="http://schemas.microsoft.com/office/powerpoint/2010/main" val="255791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95D4BD6-EC45-BA3F-599F-4A0E57C870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87845F-22E4-20DB-0C90-365275089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ols &amp; Capabiliti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84D39E7-B193-A690-936B-CA03D04BC7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232" y="1399607"/>
            <a:ext cx="2690889" cy="138870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91C29AB-C669-3A12-75C9-BE90A2928B68}"/>
              </a:ext>
            </a:extLst>
          </p:cNvPr>
          <p:cNvSpPr txBox="1"/>
          <p:nvPr/>
        </p:nvSpPr>
        <p:spPr>
          <a:xfrm>
            <a:off x="2929221" y="1355296"/>
            <a:ext cx="23484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/>
              <a:t>MAVTRAX Dashboard</a:t>
            </a:r>
          </a:p>
          <a:p>
            <a:endParaRPr lang="en-US" sz="1000"/>
          </a:p>
          <a:p>
            <a:r>
              <a:rPr lang="en-US" sz="1000"/>
              <a:t>Developed to Validate Data Flow and showcase ESRI capabilities. </a:t>
            </a:r>
          </a:p>
          <a:p>
            <a:r>
              <a:rPr lang="en-US" sz="1000" b="1"/>
              <a:t>Best Use Case is Tracking Personnel during severe weather events</a:t>
            </a:r>
          </a:p>
          <a:p>
            <a:r>
              <a:rPr lang="en-US" sz="1000"/>
              <a:t>Access Granted by Rick &amp; Jerod Fields (Can see ALL personnel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FAD73E0-875A-19D2-C4A3-B6D51E6BBA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337" y="4621344"/>
            <a:ext cx="2690889" cy="1773405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B3CE3A0-1578-9350-8760-58DE3EDC24EE}"/>
              </a:ext>
            </a:extLst>
          </p:cNvPr>
          <p:cNvSpPr txBox="1"/>
          <p:nvPr/>
        </p:nvSpPr>
        <p:spPr>
          <a:xfrm>
            <a:off x="2929221" y="4550307"/>
            <a:ext cx="21638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err="1"/>
              <a:t>MavOPS</a:t>
            </a:r>
            <a:r>
              <a:rPr lang="en-US" sz="1000" b="1"/>
              <a:t> Power App </a:t>
            </a:r>
          </a:p>
          <a:p>
            <a:endParaRPr lang="en-US" sz="1000" b="1"/>
          </a:p>
          <a:p>
            <a:r>
              <a:rPr lang="en-US" sz="1000" b="1"/>
              <a:t> </a:t>
            </a:r>
            <a:r>
              <a:rPr lang="en-US" sz="1000"/>
              <a:t>User Interface for Field Personnel (currently focused on WAB Lease Operators). Presents information in an easy to digest way and facilitates communication between LOs, their management and the Ops Center.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69FF355-99A3-F153-6EEF-2C75D20074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337" y="3001123"/>
            <a:ext cx="2690889" cy="1344726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0DE7D82-B91A-059B-7317-779B29B22889}"/>
              </a:ext>
            </a:extLst>
          </p:cNvPr>
          <p:cNvSpPr txBox="1"/>
          <p:nvPr/>
        </p:nvSpPr>
        <p:spPr>
          <a:xfrm>
            <a:off x="2929221" y="2921168"/>
            <a:ext cx="225145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err="1"/>
              <a:t>MavOPS</a:t>
            </a:r>
            <a:r>
              <a:rPr lang="en-US" sz="1000" b="1"/>
              <a:t> </a:t>
            </a:r>
            <a:r>
              <a:rPr lang="en-US" sz="1000" b="1" err="1"/>
              <a:t>PowerBI</a:t>
            </a:r>
            <a:r>
              <a:rPr lang="en-US" sz="1000" b="1"/>
              <a:t> Dashboard</a:t>
            </a:r>
          </a:p>
          <a:p>
            <a:endParaRPr lang="en-US" sz="1000" b="1"/>
          </a:p>
          <a:p>
            <a:r>
              <a:rPr lang="en-US" sz="1000"/>
              <a:t>Set of Dashboards that allows analysts and management personnel to take a deep dive into the </a:t>
            </a:r>
            <a:r>
              <a:rPr lang="en-US" sz="1000" err="1"/>
              <a:t>MavOPS</a:t>
            </a:r>
            <a:r>
              <a:rPr lang="en-US" sz="1000"/>
              <a:t> data. </a:t>
            </a:r>
          </a:p>
        </p:txBody>
      </p:sp>
      <p:pic>
        <p:nvPicPr>
          <p:cNvPr id="22" name="Picture 21" descr="A diagram of a process&#10;&#10;Description automatically generated">
            <a:extLst>
              <a:ext uri="{FF2B5EF4-FFF2-40B4-BE49-F238E27FC236}">
                <a16:creationId xmlns:a16="http://schemas.microsoft.com/office/drawing/2014/main" id="{6A5E1F63-252D-E627-9FF9-1787F8FFB65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" t="21083" r="922"/>
          <a:stretch/>
        </p:blipFill>
        <p:spPr>
          <a:xfrm>
            <a:off x="5315813" y="2114550"/>
            <a:ext cx="6799710" cy="4313822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91B24EB-E748-EAD9-2CFB-8294021B4A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25575" y="1003202"/>
            <a:ext cx="6192105" cy="246718"/>
          </a:xfrm>
        </p:spPr>
        <p:txBody>
          <a:bodyPr/>
          <a:lstStyle/>
          <a:p>
            <a:r>
              <a:rPr lang="en-US"/>
              <a:t>Empowering Efficiency: Technical Architecture</a:t>
            </a:r>
          </a:p>
          <a:p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535F66C-EB88-182E-2A6D-AB11F097CBCA}"/>
              </a:ext>
            </a:extLst>
          </p:cNvPr>
          <p:cNvSpPr txBox="1">
            <a:spLocks/>
          </p:cNvSpPr>
          <p:nvPr/>
        </p:nvSpPr>
        <p:spPr>
          <a:xfrm>
            <a:off x="5725575" y="1261896"/>
            <a:ext cx="6192106" cy="6574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436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724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Tx/>
              <a:defRPr/>
            </a:pPr>
            <a:r>
              <a:rPr lang="en-US" sz="1000" b="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Consolidated ERP datasets result in improved feedback and reduced data silos.  The increased production is realized by responding to real-time data analytics of a comprehensive data driven digital-twin. Our cutting-edge prioritization algorithm dynamically adapts to changing conditions, ensuring resources are optimally allocated, while automation capabilities streamline workflows, reducing manual intervention and enhancing operational agility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37CFE15-4449-C9FA-9EA9-06EAB24502BC}"/>
              </a:ext>
            </a:extLst>
          </p:cNvPr>
          <p:cNvSpPr txBox="1">
            <a:spLocks/>
          </p:cNvSpPr>
          <p:nvPr/>
        </p:nvSpPr>
        <p:spPr>
          <a:xfrm>
            <a:off x="5321491" y="6442155"/>
            <a:ext cx="6596189" cy="2467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436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724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i="1">
                <a:solidFill>
                  <a:srgbClr val="C00000"/>
                </a:solidFill>
              </a:rPr>
              <a:t>The win is realized by improving data delivery speed; enabling qualified operators to do meaningful work quickly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95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F72C7C9-A5B0-8BF9-A8D7-42B0D4961F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59" y="1177290"/>
            <a:ext cx="11430000" cy="5445238"/>
          </a:xfrm>
        </p:spPr>
        <p:txBody>
          <a:bodyPr/>
          <a:lstStyle/>
          <a:p>
            <a:r>
              <a:rPr lang="en-US" err="1"/>
              <a:t>MavOPS</a:t>
            </a:r>
            <a:r>
              <a:rPr lang="en-US"/>
              <a:t> &lt;&gt; EVIN</a:t>
            </a:r>
          </a:p>
          <a:p>
            <a:pPr lvl="1"/>
            <a:r>
              <a:rPr lang="en-US"/>
              <a:t>EVIN Comments are pulled into </a:t>
            </a:r>
            <a:r>
              <a:rPr lang="en-US" err="1"/>
              <a:t>MavOPS</a:t>
            </a:r>
            <a:r>
              <a:rPr lang="en-US"/>
              <a:t> </a:t>
            </a:r>
          </a:p>
          <a:p>
            <a:pPr lvl="1"/>
            <a:r>
              <a:rPr lang="en-US"/>
              <a:t>All EVIN Data Entered is pulled into </a:t>
            </a:r>
            <a:r>
              <a:rPr lang="en-US" err="1"/>
              <a:t>MavOPS</a:t>
            </a:r>
            <a:r>
              <a:rPr lang="en-US"/>
              <a:t> through existing </a:t>
            </a:r>
            <a:r>
              <a:rPr lang="en-US" err="1"/>
              <a:t>ProCount</a:t>
            </a:r>
            <a:r>
              <a:rPr lang="en-US"/>
              <a:t> Integration (key driver)</a:t>
            </a:r>
          </a:p>
          <a:p>
            <a:pPr lvl="1"/>
            <a:r>
              <a:rPr lang="en-US" err="1"/>
              <a:t>MavOPS</a:t>
            </a:r>
            <a:r>
              <a:rPr lang="en-US"/>
              <a:t> Comments will be able to push into EVIN</a:t>
            </a:r>
          </a:p>
          <a:p>
            <a:pPr lvl="1"/>
            <a:r>
              <a:rPr lang="en-US"/>
              <a:t>Downtime, </a:t>
            </a:r>
            <a:r>
              <a:rPr lang="en-US" err="1"/>
              <a:t>Guaging</a:t>
            </a:r>
            <a:r>
              <a:rPr lang="en-US"/>
              <a:t>, etc. will continue to be entered into EVIN directly </a:t>
            </a:r>
          </a:p>
          <a:p>
            <a:r>
              <a:rPr lang="en-US" err="1"/>
              <a:t>MavOPS</a:t>
            </a:r>
            <a:r>
              <a:rPr lang="en-US"/>
              <a:t> &lt;&gt; </a:t>
            </a:r>
            <a:r>
              <a:rPr lang="en-US" err="1"/>
              <a:t>WellView</a:t>
            </a:r>
            <a:r>
              <a:rPr lang="en-US"/>
              <a:t> </a:t>
            </a:r>
          </a:p>
          <a:p>
            <a:pPr lvl="1"/>
            <a:r>
              <a:rPr lang="en-US" err="1"/>
              <a:t>WellView</a:t>
            </a:r>
            <a:r>
              <a:rPr lang="en-US"/>
              <a:t> Comments are pulled into </a:t>
            </a:r>
            <a:r>
              <a:rPr lang="en-US" err="1"/>
              <a:t>MavOPS</a:t>
            </a:r>
            <a:endParaRPr lang="en-US"/>
          </a:p>
          <a:p>
            <a:pPr lvl="1"/>
            <a:r>
              <a:rPr lang="en-US" err="1"/>
              <a:t>MavOPS</a:t>
            </a:r>
            <a:r>
              <a:rPr lang="en-US"/>
              <a:t> can trigger an RCFA submittal (through SharePoint process)</a:t>
            </a:r>
          </a:p>
          <a:p>
            <a:pPr lvl="1"/>
            <a:r>
              <a:rPr lang="en-US"/>
              <a:t>RCFA and Downhole work will be managed within </a:t>
            </a:r>
            <a:r>
              <a:rPr lang="en-US" err="1"/>
              <a:t>Wellview</a:t>
            </a:r>
            <a:r>
              <a:rPr lang="en-US"/>
              <a:t> </a:t>
            </a:r>
          </a:p>
          <a:p>
            <a:pPr lvl="1"/>
            <a:r>
              <a:rPr lang="en-US"/>
              <a:t>Status of work &amp; RCFA will be presented in </a:t>
            </a:r>
            <a:r>
              <a:rPr lang="en-US" err="1"/>
              <a:t>MavOPS</a:t>
            </a:r>
            <a:endParaRPr lang="en-US"/>
          </a:p>
          <a:p>
            <a:r>
              <a:rPr lang="en-US" err="1"/>
              <a:t>MavOPS</a:t>
            </a:r>
            <a:r>
              <a:rPr lang="en-US"/>
              <a:t> &lt;&gt; ULTIMO</a:t>
            </a:r>
          </a:p>
          <a:p>
            <a:pPr lvl="1"/>
            <a:r>
              <a:rPr lang="en-US"/>
              <a:t>Active ULTIMO WOs will be </a:t>
            </a:r>
            <a:r>
              <a:rPr lang="en-US" err="1"/>
              <a:t>be</a:t>
            </a:r>
            <a:r>
              <a:rPr lang="en-US"/>
              <a:t> shown in </a:t>
            </a:r>
            <a:r>
              <a:rPr lang="en-US" err="1"/>
              <a:t>MavOPS</a:t>
            </a:r>
            <a:endParaRPr lang="en-US"/>
          </a:p>
          <a:p>
            <a:pPr lvl="1"/>
            <a:r>
              <a:rPr lang="en-US"/>
              <a:t>ULTIMO &amp; </a:t>
            </a:r>
            <a:r>
              <a:rPr lang="en-US" err="1"/>
              <a:t>MavOPS</a:t>
            </a:r>
            <a:r>
              <a:rPr lang="en-US"/>
              <a:t> operate independently (currently do not have integration within Scope)</a:t>
            </a:r>
          </a:p>
          <a:p>
            <a:r>
              <a:rPr lang="en-US" err="1"/>
              <a:t>MavOPS</a:t>
            </a:r>
            <a:r>
              <a:rPr lang="en-US"/>
              <a:t> &lt;&gt; JOYN</a:t>
            </a:r>
          </a:p>
          <a:p>
            <a:pPr lvl="1"/>
            <a:r>
              <a:rPr lang="en-US"/>
              <a:t>JOYN &amp; </a:t>
            </a:r>
            <a:r>
              <a:rPr lang="en-US" err="1"/>
              <a:t>MavOPS</a:t>
            </a:r>
            <a:r>
              <a:rPr lang="en-US"/>
              <a:t> are driven off of the same Hierarchy Management Toolset</a:t>
            </a:r>
          </a:p>
          <a:p>
            <a:pPr lvl="1"/>
            <a:r>
              <a:rPr lang="en-US"/>
              <a:t>Currently JOYN &amp; </a:t>
            </a:r>
            <a:r>
              <a:rPr lang="en-US" err="1"/>
              <a:t>MavOPS</a:t>
            </a:r>
            <a:r>
              <a:rPr lang="en-US"/>
              <a:t> integration is OOS. </a:t>
            </a:r>
          </a:p>
          <a:p>
            <a:pPr lvl="1"/>
            <a:r>
              <a:rPr lang="en-US"/>
              <a:t>Team plans to evaluate this during </a:t>
            </a:r>
            <a:r>
              <a:rPr lang="en-US" err="1"/>
              <a:t>MavOPS</a:t>
            </a:r>
            <a:r>
              <a:rPr lang="en-US"/>
              <a:t> Phase 2</a:t>
            </a:r>
          </a:p>
          <a:p>
            <a:pPr lvl="1"/>
            <a:r>
              <a:rPr lang="en-US"/>
              <a:t>JOYN is much more narrow &amp; detailed focus to accommodate the safety workflows. 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C4363D-ADE5-C926-BFA4-F68D20E89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5EA33D8-F3F9-93DB-A851-D93F18629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avOPS</a:t>
            </a:r>
            <a:r>
              <a:rPr lang="en-US"/>
              <a:t> &lt;&gt; ULTIMO &lt;&gt; </a:t>
            </a:r>
            <a:r>
              <a:rPr lang="en-US" err="1"/>
              <a:t>Wellview</a:t>
            </a:r>
            <a:r>
              <a:rPr lang="en-US"/>
              <a:t> &lt;&gt; EVIN &lt;&gt; JOYN</a:t>
            </a:r>
          </a:p>
        </p:txBody>
      </p:sp>
    </p:spTree>
    <p:extLst>
      <p:ext uri="{BB962C8B-B14F-4D97-AF65-F5344CB8AC3E}">
        <p14:creationId xmlns:p14="http://schemas.microsoft.com/office/powerpoint/2010/main" val="4172299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Sur7jP5u5LeUQEtltA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MNR">
  <a:themeElements>
    <a:clrScheme name="Maverick">
      <a:dk1>
        <a:sysClr val="windowText" lastClr="000000"/>
      </a:dk1>
      <a:lt1>
        <a:sysClr val="window" lastClr="FFFFFF"/>
      </a:lt1>
      <a:dk2>
        <a:srgbClr val="011E41"/>
      </a:dk2>
      <a:lt2>
        <a:srgbClr val="E7E6E6"/>
      </a:lt2>
      <a:accent1>
        <a:srgbClr val="011E41"/>
      </a:accent1>
      <a:accent2>
        <a:srgbClr val="C71F41"/>
      </a:accent2>
      <a:accent3>
        <a:srgbClr val="B1B1B1"/>
      </a:accent3>
      <a:accent4>
        <a:srgbClr val="6786B8"/>
      </a:accent4>
      <a:accent5>
        <a:srgbClr val="57B6B2"/>
      </a:accent5>
      <a:accent6>
        <a:srgbClr val="6ABF4B"/>
      </a:accent6>
      <a:hlink>
        <a:srgbClr val="00837B"/>
      </a:hlink>
      <a:folHlink>
        <a:srgbClr val="F5CE3E"/>
      </a:folHlink>
    </a:clrScheme>
    <a:fontScheme name="Ba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NR" id="{F6718760-A55B-42EF-88CC-2D930B972AF8}" vid="{468B82AE-03F1-4794-A8DB-188182CADEE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8352d89-9378-420d-a864-59484a4a266b">
      <UserInfo>
        <DisplayName>Brian Yu</DisplayName>
        <AccountId>12</AccountId>
        <AccountType/>
      </UserInfo>
      <UserInfo>
        <DisplayName>Cynthia Estrada</DisplayName>
        <AccountId>43</AccountId>
        <AccountType/>
      </UserInfo>
      <UserInfo>
        <DisplayName>Michael Atkin</DisplayName>
        <AccountId>65</AccountId>
        <AccountType/>
      </UserInfo>
      <UserInfo>
        <DisplayName>Jordan Castillo</DisplayName>
        <AccountId>111</AccountId>
        <AccountType/>
      </UserInfo>
      <UserInfo>
        <DisplayName>Wayne Kirk</DisplayName>
        <AccountId>59</AccountId>
        <AccountType/>
      </UserInfo>
      <UserInfo>
        <DisplayName>Roger Valliquette</DisplayName>
        <AccountId>174</AccountId>
        <AccountType/>
      </UserInfo>
      <UserInfo>
        <DisplayName>Kevin Goebel</DisplayName>
        <AccountId>20</AccountId>
        <AccountType/>
      </UserInfo>
      <UserInfo>
        <DisplayName>Patrick Kester</DisplayName>
        <AccountId>146</AccountId>
        <AccountType/>
      </UserInfo>
      <UserInfo>
        <DisplayName>Philip Venesky</DisplayName>
        <AccountId>145</AccountId>
        <AccountType/>
      </UserInfo>
      <UserInfo>
        <DisplayName>Jacob Bailey</DisplayName>
        <AccountId>133</AccountId>
        <AccountType/>
      </UserInfo>
      <UserInfo>
        <DisplayName>Nicholas Siegele</DisplayName>
        <AccountId>71</AccountId>
        <AccountType/>
      </UserInfo>
      <UserInfo>
        <DisplayName>Brandon Acuff</DisplayName>
        <AccountId>13</AccountId>
        <AccountType/>
      </UserInfo>
      <UserInfo>
        <DisplayName>Satish Masina</DisplayName>
        <AccountId>14</AccountId>
        <AccountType/>
      </UserInfo>
      <UserInfo>
        <DisplayName>Sparsh Varma</DisplayName>
        <AccountId>16</AccountId>
        <AccountType/>
      </UserInfo>
      <UserInfo>
        <DisplayName>Ali Abouie</DisplayName>
        <AccountId>581</AccountId>
        <AccountType/>
      </UserInfo>
      <UserInfo>
        <DisplayName>Buddy Bains</DisplayName>
        <AccountId>580</AccountId>
        <AccountType/>
      </UserInfo>
      <UserInfo>
        <DisplayName>Jill Cervantes</DisplayName>
        <AccountId>23</AccountId>
        <AccountType/>
      </UserInfo>
      <UserInfo>
        <DisplayName>Katrina Autry</DisplayName>
        <AccountId>15</AccountId>
        <AccountType/>
      </UserInfo>
    </SharedWithUsers>
    <TaxCatchAll xmlns="48352d89-9378-420d-a864-59484a4a266b" xsi:nil="true"/>
    <lcf76f155ced4ddcb4097134ff3c332f xmlns="0c6d001d-ea3b-4bce-ad60-24207cef38c3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ECCDA81898AF4CA62E321DF773C9AA" ma:contentTypeVersion="15" ma:contentTypeDescription="Create a new document." ma:contentTypeScope="" ma:versionID="542a976390a7800383b4410325435c76">
  <xsd:schema xmlns:xsd="http://www.w3.org/2001/XMLSchema" xmlns:xs="http://www.w3.org/2001/XMLSchema" xmlns:p="http://schemas.microsoft.com/office/2006/metadata/properties" xmlns:ns2="0c6d001d-ea3b-4bce-ad60-24207cef38c3" xmlns:ns3="48352d89-9378-420d-a864-59484a4a266b" targetNamespace="http://schemas.microsoft.com/office/2006/metadata/properties" ma:root="true" ma:fieldsID="09fac87d8a0164f2da2d0d67cebcd674" ns2:_="" ns3:_="">
    <xsd:import namespace="0c6d001d-ea3b-4bce-ad60-24207cef38c3"/>
    <xsd:import namespace="48352d89-9378-420d-a864-59484a4a26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SearchPropertie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6d001d-ea3b-4bce-ad60-24207cef38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a3f6185d-7804-43f7-81f6-b6b9c332118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352d89-9378-420d-a864-59484a4a266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f046598-d9bb-4a21-aa3c-4ea5d9c26474}" ma:internalName="TaxCatchAll" ma:showField="CatchAllData" ma:web="48352d89-9378-420d-a864-59484a4a266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1D156B-1314-4F31-9B7B-9C699F1DA738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http://purl.org/dc/terms/"/>
    <ds:schemaRef ds:uri="0c6d001d-ea3b-4bce-ad60-24207cef38c3"/>
    <ds:schemaRef ds:uri="http://www.w3.org/XML/1998/namespace"/>
    <ds:schemaRef ds:uri="http://schemas.microsoft.com/office/infopath/2007/PartnerControls"/>
    <ds:schemaRef ds:uri="48352d89-9378-420d-a864-59484a4a266b"/>
  </ds:schemaRefs>
</ds:datastoreItem>
</file>

<file path=customXml/itemProps2.xml><?xml version="1.0" encoding="utf-8"?>
<ds:datastoreItem xmlns:ds="http://schemas.openxmlformats.org/officeDocument/2006/customXml" ds:itemID="{331B4EA9-C7AF-4526-8F71-C92BB8B2FB71}">
  <ds:schemaRefs>
    <ds:schemaRef ds:uri="0c6d001d-ea3b-4bce-ad60-24207cef38c3"/>
    <ds:schemaRef ds:uri="48352d89-9378-420d-a864-59484a4a266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BCB9A4E-84FD-4186-B36A-C69F584E8A0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NR</Template>
  <TotalTime>4677</TotalTime>
  <Words>1131</Words>
  <Application>Microsoft Office PowerPoint</Application>
  <PresentationFormat>Widescreen</PresentationFormat>
  <Paragraphs>234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Wingdings</vt:lpstr>
      <vt:lpstr>MNR</vt:lpstr>
      <vt:lpstr>think-cell Slide</vt:lpstr>
      <vt:lpstr>Worksheet</vt:lpstr>
      <vt:lpstr>Maverick Advanced Technologies Implementation Council (MATIC) </vt:lpstr>
      <vt:lpstr>MATIC Guiding Principles</vt:lpstr>
      <vt:lpstr>One of our most important workspaces…</vt:lpstr>
      <vt:lpstr>Maverick Operational Priority System (MAV OPS) </vt:lpstr>
      <vt:lpstr>Application Usage</vt:lpstr>
      <vt:lpstr>Pump by Priority - WAB</vt:lpstr>
      <vt:lpstr>Labor &amp; Vehicles Long Term Trend</vt:lpstr>
      <vt:lpstr>Tools &amp; Capabilities</vt:lpstr>
      <vt:lpstr>MavOPS &lt;&gt; ULTIMO &lt;&gt; Wellview &lt;&gt; EVIN &lt;&gt; JOYN</vt:lpstr>
      <vt:lpstr>BU Level Resource Allocation</vt:lpstr>
      <vt:lpstr>2 Levers to Optimize Margins</vt:lpstr>
      <vt:lpstr>Route Distribution</vt:lpstr>
      <vt:lpstr>Updated Operations Org (Option #1) – Recommended</vt:lpstr>
      <vt:lpstr>Updated Operations Org (Option #2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ven Elliott</dc:creator>
  <cp:lastModifiedBy>Trevor Slade</cp:lastModifiedBy>
  <cp:revision>5</cp:revision>
  <cp:lastPrinted>2024-01-15T19:03:41Z</cp:lastPrinted>
  <dcterms:created xsi:type="dcterms:W3CDTF">2018-10-08T11:12:39Z</dcterms:created>
  <dcterms:modified xsi:type="dcterms:W3CDTF">2024-07-31T16:0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ECCDA81898AF4CA62E321DF773C9AA</vt:lpwstr>
  </property>
  <property fmtid="{D5CDD505-2E9C-101B-9397-08002B2CF9AE}" pid="3" name="MediaServiceImageTags">
    <vt:lpwstr/>
  </property>
</Properties>
</file>